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2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2.xml" ContentType="application/vnd.openxmlformats-officedocument.presentationml.notesSlid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3.xml" ContentType="application/vnd.openxmlformats-officedocument.presentationml.notesSlid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notesSlides/notesSlide4.xml" ContentType="application/vnd.openxmlformats-officedocument.presentationml.notesSl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notesSlides/notesSlide5.xml" ContentType="application/vnd.openxmlformats-officedocument.presentationml.notesSlide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notesSlides/notesSlide6.xml" ContentType="application/vnd.openxmlformats-officedocument.presentationml.notesSlid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1"/>
    <p:sldMasterId id="2147485261" r:id="rId2"/>
  </p:sldMasterIdLst>
  <p:notesMasterIdLst>
    <p:notesMasterId r:id="rId13"/>
  </p:notesMasterIdLst>
  <p:handoutMasterIdLst>
    <p:handoutMasterId r:id="rId14"/>
  </p:handoutMasterIdLst>
  <p:sldIdLst>
    <p:sldId id="256" r:id="rId3"/>
    <p:sldId id="2145706524" r:id="rId4"/>
    <p:sldId id="2145706506" r:id="rId5"/>
    <p:sldId id="2145706523" r:id="rId6"/>
    <p:sldId id="266" r:id="rId7"/>
    <p:sldId id="267" r:id="rId8"/>
    <p:sldId id="2145706494" r:id="rId9"/>
    <p:sldId id="269" r:id="rId10"/>
    <p:sldId id="268" r:id="rId11"/>
    <p:sldId id="2145706499" r:id="rId12"/>
  </p:sldIdLst>
  <p:sldSz cx="12192000" cy="6858000"/>
  <p:notesSz cx="6950075" cy="9236075"/>
  <p:custShowLst>
    <p:custShow name="Format Guide Workshop" id="0">
      <p:sldLst/>
    </p:custShow>
  </p:custShowLst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863DCFF-75DE-42B4-A665-0C3985510031}">
          <p14:sldIdLst>
            <p14:sldId id="256"/>
            <p14:sldId id="2145706524"/>
            <p14:sldId id="2145706506"/>
            <p14:sldId id="2145706523"/>
            <p14:sldId id="266"/>
            <p14:sldId id="267"/>
            <p14:sldId id="2145706494"/>
            <p14:sldId id="269"/>
            <p14:sldId id="268"/>
            <p14:sldId id="21457064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3" pos="176" userDrawn="1">
          <p15:clr>
            <a:srgbClr val="A4A3A4"/>
          </p15:clr>
        </p15:guide>
        <p15:guide id="4" pos="75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ADAD"/>
    <a:srgbClr val="104B7D"/>
    <a:srgbClr val="0C4592"/>
    <a:srgbClr val="28802A"/>
    <a:srgbClr val="EDAE1D"/>
    <a:srgbClr val="9B2525"/>
    <a:srgbClr val="051934"/>
    <a:srgbClr val="193265"/>
    <a:srgbClr val="204184"/>
    <a:srgbClr val="83A2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44" autoAdjust="0"/>
    <p:restoredTop sz="94075" autoAdjust="0"/>
  </p:normalViewPr>
  <p:slideViewPr>
    <p:cSldViewPr snapToGrid="0">
      <p:cViewPr varScale="1">
        <p:scale>
          <a:sx n="68" d="100"/>
          <a:sy n="68" d="100"/>
        </p:scale>
        <p:origin x="1152" y="66"/>
      </p:cViewPr>
      <p:guideLst>
        <p:guide orient="horz" pos="2160"/>
        <p:guide pos="176"/>
        <p:guide pos="75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3/15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3/15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781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333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889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409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2674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794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8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7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8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7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6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6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6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6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7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8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10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8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7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8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7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7" Type="http://schemas.openxmlformats.org/officeDocument/2006/relationships/image" Target="../media/image8.png"/><Relationship Id="rId2" Type="http://schemas.openxmlformats.org/officeDocument/2006/relationships/tags" Target="../tags/tag218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2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8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8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6.png"/><Relationship Id="rId2" Type="http://schemas.openxmlformats.org/officeDocument/2006/relationships/tags" Target="../tags/tag7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6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8.png"/><Relationship Id="rId2" Type="http://schemas.openxmlformats.org/officeDocument/2006/relationships/tags" Target="../tags/tag8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png"/><Relationship Id="rId2" Type="http://schemas.openxmlformats.org/officeDocument/2006/relationships/tags" Target="../tags/tag8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8.png"/><Relationship Id="rId2" Type="http://schemas.openxmlformats.org/officeDocument/2006/relationships/tags" Target="../tags/tag9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7.png"/><Relationship Id="rId2" Type="http://schemas.openxmlformats.org/officeDocument/2006/relationships/tags" Target="../tags/tag9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8.png"/><Relationship Id="rId2" Type="http://schemas.openxmlformats.org/officeDocument/2006/relationships/tags" Target="../tags/tag9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7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8.png"/><Relationship Id="rId2" Type="http://schemas.openxmlformats.org/officeDocument/2006/relationships/tags" Target="../tags/tag9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3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5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5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5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6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6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6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6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7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8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10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8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7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633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6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45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4184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569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5015168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625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55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6598322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654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3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91211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5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8104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8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713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0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11615045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0570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0746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5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9020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7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494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2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237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0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249114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2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1163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4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3422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186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9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225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88478" y="2158987"/>
            <a:ext cx="408552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1227048"/>
            <a:ext cx="4085522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8592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4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97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541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64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618051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6498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49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8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88478" y="1544274"/>
            <a:ext cx="3793922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744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7" y="721619"/>
            <a:ext cx="8443106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604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6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569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8770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65900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276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3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70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2339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8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89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322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4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5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451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0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700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8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080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0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292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2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508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5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50281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7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7261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9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92266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2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261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570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7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8978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9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00118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62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90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2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67813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4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403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0362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841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37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8750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4704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409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90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0538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44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7572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996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73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6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8299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2222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24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3868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46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804650"/>
            <a:ext cx="658907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983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7"/>
          <a:stretch/>
        </p:blipFill>
        <p:spPr>
          <a:xfrm>
            <a:off x="-1" y="507851"/>
            <a:ext cx="4206363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0" y="649895"/>
            <a:ext cx="4206362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3C75AE-9566-4E3B-8ABC-6E24FB4BE25B}"/>
              </a:ext>
            </a:extLst>
          </p:cNvPr>
          <p:cNvGrpSpPr/>
          <p:nvPr userDrawn="1"/>
        </p:nvGrpSpPr>
        <p:grpSpPr>
          <a:xfrm>
            <a:off x="3724275" y="1070092"/>
            <a:ext cx="8544665" cy="97898"/>
            <a:chOff x="3724275" y="1070092"/>
            <a:chExt cx="8544665" cy="97898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00978" y="682294"/>
            <a:ext cx="7402544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01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15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7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77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67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9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5098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911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82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20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2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8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468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00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5015168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3085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30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5015168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764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378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9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7427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62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6598322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6220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6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2923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8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17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75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4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44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1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506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89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11615045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905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5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567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8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3760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10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4144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3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2920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5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5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886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8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455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2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5027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830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2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801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4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3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>
              <a:solidFill>
                <a:srgbClr val="051934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1934"/>
            </a:solidFill>
            <a:ln>
              <a:solidFill>
                <a:srgbClr val="0519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1389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4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88478" y="2158987"/>
            <a:ext cx="408552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1227048"/>
            <a:ext cx="4085522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83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7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47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9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354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0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556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56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4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618051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146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919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7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7" y="721619"/>
            <a:ext cx="8443106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6722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01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9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846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37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4857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74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65900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874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482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6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03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6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2B21D19-2C3D-44F2-BD7B-B357A1D0C7A4}"/>
              </a:ext>
            </a:extLst>
          </p:cNvPr>
          <p:cNvSpPr/>
          <p:nvPr userDrawn="1"/>
        </p:nvSpPr>
        <p:spPr>
          <a:xfrm>
            <a:off x="283028" y="5268686"/>
            <a:ext cx="1445051" cy="144505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"/>
          <a:stretch/>
        </p:blipFill>
        <p:spPr>
          <a:xfrm>
            <a:off x="154656" y="5156581"/>
            <a:ext cx="1680063" cy="170141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832262-43E3-4A07-82F9-44A3C389201E}"/>
              </a:ext>
            </a:extLst>
          </p:cNvPr>
          <p:cNvCxnSpPr>
            <a:cxnSpLocks/>
          </p:cNvCxnSpPr>
          <p:nvPr/>
        </p:nvCxnSpPr>
        <p:spPr>
          <a:xfrm>
            <a:off x="1059732" y="1118586"/>
            <a:ext cx="11001639" cy="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23" name="Rectangle 11">
            <a:extLst>
              <a:ext uri="{FF2B5EF4-FFF2-40B4-BE49-F238E27FC236}">
                <a16:creationId xmlns:a16="http://schemas.microsoft.com/office/drawing/2014/main" id="{5065A4B8-5F15-4D02-9448-AB93774FE071}"/>
              </a:ext>
            </a:extLst>
          </p:cNvPr>
          <p:cNvSpPr/>
          <p:nvPr/>
        </p:nvSpPr>
        <p:spPr>
          <a:xfrm>
            <a:off x="675934" y="1070092"/>
            <a:ext cx="343489" cy="96987"/>
          </a:xfrm>
          <a:custGeom>
            <a:avLst/>
            <a:gdLst>
              <a:gd name="connsiteX0" fmla="*/ 0 w 328474"/>
              <a:gd name="connsiteY0" fmla="*/ 0 h 115400"/>
              <a:gd name="connsiteX1" fmla="*/ 328474 w 328474"/>
              <a:gd name="connsiteY1" fmla="*/ 0 h 115400"/>
              <a:gd name="connsiteX2" fmla="*/ 328474 w 328474"/>
              <a:gd name="connsiteY2" fmla="*/ 115400 h 115400"/>
              <a:gd name="connsiteX3" fmla="*/ 0 w 328474"/>
              <a:gd name="connsiteY3" fmla="*/ 115400 h 115400"/>
              <a:gd name="connsiteX4" fmla="*/ 0 w 328474"/>
              <a:gd name="connsiteY4" fmla="*/ 0 h 115400"/>
              <a:gd name="connsiteX0" fmla="*/ 0 w 351549"/>
              <a:gd name="connsiteY0" fmla="*/ 0 h 115400"/>
              <a:gd name="connsiteX1" fmla="*/ 328474 w 351549"/>
              <a:gd name="connsiteY1" fmla="*/ 0 h 115400"/>
              <a:gd name="connsiteX2" fmla="*/ 351549 w 351549"/>
              <a:gd name="connsiteY2" fmla="*/ 56723 h 115400"/>
              <a:gd name="connsiteX3" fmla="*/ 328474 w 351549"/>
              <a:gd name="connsiteY3" fmla="*/ 115400 h 115400"/>
              <a:gd name="connsiteX4" fmla="*/ 0 w 351549"/>
              <a:gd name="connsiteY4" fmla="*/ 115400 h 115400"/>
              <a:gd name="connsiteX5" fmla="*/ 0 w 35154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0 w 40869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699" h="115400">
                <a:moveTo>
                  <a:pt x="0" y="0"/>
                </a:moveTo>
                <a:lnTo>
                  <a:pt x="328474" y="0"/>
                </a:lnTo>
                <a:cubicBezTo>
                  <a:pt x="347110" y="14394"/>
                  <a:pt x="388175" y="47300"/>
                  <a:pt x="408699" y="62166"/>
                </a:cubicBezTo>
                <a:lnTo>
                  <a:pt x="328474" y="115400"/>
                </a:lnTo>
                <a:lnTo>
                  <a:pt x="0" y="115400"/>
                </a:lnTo>
                <a:cubicBezTo>
                  <a:pt x="32428" y="93820"/>
                  <a:pt x="67009" y="71297"/>
                  <a:pt x="97549" y="54909"/>
                </a:cubicBez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 w="12700" cap="flat" cmpd="sng" algn="ctr">
            <a:solidFill>
              <a:srgbClr val="EDAE1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8E9294F-BB5D-46ED-B464-54CBD1CF8C8D}"/>
              </a:ext>
            </a:extLst>
          </p:cNvPr>
          <p:cNvCxnSpPr/>
          <p:nvPr/>
        </p:nvCxnSpPr>
        <p:spPr>
          <a:xfrm flipH="1">
            <a:off x="283028" y="1070092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0A5D17E-15DF-4C7D-8634-463BF7667DBC}"/>
              </a:ext>
            </a:extLst>
          </p:cNvPr>
          <p:cNvCxnSpPr/>
          <p:nvPr/>
        </p:nvCxnSpPr>
        <p:spPr>
          <a:xfrm flipH="1">
            <a:off x="333034" y="1122066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4801302-3D6B-4CBE-AB1F-66B2163E9DE9}"/>
              </a:ext>
            </a:extLst>
          </p:cNvPr>
          <p:cNvCxnSpPr/>
          <p:nvPr/>
        </p:nvCxnSpPr>
        <p:spPr>
          <a:xfrm flipH="1">
            <a:off x="283028" y="1167990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1059732" y="682294"/>
            <a:ext cx="1084379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363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03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067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00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82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9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597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486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6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724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092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8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33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417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869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3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087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08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9836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0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01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8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>
            <a:off x="1963091" y="1070092"/>
            <a:ext cx="11778343" cy="97898"/>
            <a:chOff x="283028" y="1070092"/>
            <a:chExt cx="11778343" cy="9789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739795" y="682294"/>
            <a:ext cx="9163727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425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68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7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637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5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2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7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939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80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6561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2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478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5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83886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7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124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58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5466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261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017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785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52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0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 rot="5400000">
            <a:off x="-3773681" y="6033979"/>
            <a:ext cx="11778343" cy="97898"/>
            <a:chOff x="283028" y="1070092"/>
            <a:chExt cx="11778343" cy="9789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44477" y="590132"/>
            <a:ext cx="9228229" cy="584775"/>
          </a:xfrm>
        </p:spPr>
        <p:txBody>
          <a:bodyPr lIns="91440" tIns="45720" rIns="91440" bIns="45720"/>
          <a:lstStyle>
            <a:lvl1pPr marL="0" algn="l" defTabSz="914400" rtl="0" eaLnBrk="1" latinLnBrk="0" hangingPunct="1">
              <a:defRPr lang="en-US" sz="3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8642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081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7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394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0777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979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789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98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8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53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057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520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7944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45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7201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7"/>
          <a:stretch/>
        </p:blipFill>
        <p:spPr>
          <a:xfrm>
            <a:off x="-1" y="507851"/>
            <a:ext cx="4206363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0" y="649895"/>
            <a:ext cx="4206362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3C75AE-9566-4E3B-8ABC-6E24FB4BE25B}"/>
              </a:ext>
            </a:extLst>
          </p:cNvPr>
          <p:cNvGrpSpPr/>
          <p:nvPr userDrawn="1"/>
        </p:nvGrpSpPr>
        <p:grpSpPr>
          <a:xfrm>
            <a:off x="3724275" y="1070092"/>
            <a:ext cx="8544665" cy="97898"/>
            <a:chOff x="3724275" y="1070092"/>
            <a:chExt cx="8544665" cy="97898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00978" y="682294"/>
            <a:ext cx="7402544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321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3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879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5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>
              <a:solidFill>
                <a:srgbClr val="051934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1934"/>
            </a:solidFill>
            <a:ln>
              <a:solidFill>
                <a:srgbClr val="0519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115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211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BD0CCF64-679E-4CB8-8048-AF2370333156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8">
            <a:extLst>
              <a:ext uri="{FF2B5EF4-FFF2-40B4-BE49-F238E27FC236}">
                <a16:creationId xmlns:a16="http://schemas.microsoft.com/office/drawing/2014/main" id="{28C2FB08-5927-4322-9E4D-942431372235}"/>
              </a:ext>
            </a:extLst>
          </p:cNvPr>
          <p:cNvSpPr/>
          <p:nvPr userDrawn="1"/>
        </p:nvSpPr>
        <p:spPr>
          <a:xfrm>
            <a:off x="6670551" y="5850386"/>
            <a:ext cx="5521449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289412" y="682294"/>
            <a:ext cx="1061411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1589" y="1070092"/>
            <a:ext cx="11869783" cy="97898"/>
            <a:chOff x="191589" y="1070092"/>
            <a:chExt cx="11869783" cy="97898"/>
          </a:xfrm>
        </p:grpSpPr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3BEE02AA-3F87-4005-8099-FBC9718DDD55}"/>
                </a:ext>
              </a:extLst>
            </p:cNvPr>
            <p:cNvSpPr/>
            <p:nvPr/>
          </p:nvSpPr>
          <p:spPr>
            <a:xfrm>
              <a:off x="746937" y="1070092"/>
              <a:ext cx="485500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DC11E594-9CD6-4AA3-963B-7D63B33A4A51}"/>
                </a:ext>
              </a:extLst>
            </p:cNvPr>
            <p:cNvCxnSpPr/>
            <p:nvPr/>
          </p:nvCxnSpPr>
          <p:spPr>
            <a:xfrm flipH="1">
              <a:off x="191589" y="1070092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6E58C44-C5E8-4F2A-8768-7B02C6FA32F7}"/>
                </a:ext>
              </a:extLst>
            </p:cNvPr>
            <p:cNvCxnSpPr/>
            <p:nvPr/>
          </p:nvCxnSpPr>
          <p:spPr>
            <a:xfrm flipH="1">
              <a:off x="262269" y="1122066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A15D2565-0252-40A1-9AF8-9A87442F6F08}"/>
                </a:ext>
              </a:extLst>
            </p:cNvPr>
            <p:cNvCxnSpPr/>
            <p:nvPr/>
          </p:nvCxnSpPr>
          <p:spPr>
            <a:xfrm flipH="1">
              <a:off x="191589" y="1167990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89412" y="1118586"/>
              <a:ext cx="10771960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5390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8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2B21D19-2C3D-44F2-BD7B-B357A1D0C7A4}"/>
              </a:ext>
            </a:extLst>
          </p:cNvPr>
          <p:cNvSpPr/>
          <p:nvPr userDrawn="1"/>
        </p:nvSpPr>
        <p:spPr>
          <a:xfrm>
            <a:off x="283028" y="5268686"/>
            <a:ext cx="1445051" cy="144505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832262-43E3-4A07-82F9-44A3C389201E}"/>
              </a:ext>
            </a:extLst>
          </p:cNvPr>
          <p:cNvCxnSpPr>
            <a:cxnSpLocks/>
          </p:cNvCxnSpPr>
          <p:nvPr/>
        </p:nvCxnSpPr>
        <p:spPr>
          <a:xfrm>
            <a:off x="1059732" y="1118586"/>
            <a:ext cx="11001639" cy="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23" name="Rectangle 11">
            <a:extLst>
              <a:ext uri="{FF2B5EF4-FFF2-40B4-BE49-F238E27FC236}">
                <a16:creationId xmlns:a16="http://schemas.microsoft.com/office/drawing/2014/main" id="{5065A4B8-5F15-4D02-9448-AB93774FE071}"/>
              </a:ext>
            </a:extLst>
          </p:cNvPr>
          <p:cNvSpPr/>
          <p:nvPr/>
        </p:nvSpPr>
        <p:spPr>
          <a:xfrm>
            <a:off x="675934" y="1070092"/>
            <a:ext cx="343489" cy="96987"/>
          </a:xfrm>
          <a:custGeom>
            <a:avLst/>
            <a:gdLst>
              <a:gd name="connsiteX0" fmla="*/ 0 w 328474"/>
              <a:gd name="connsiteY0" fmla="*/ 0 h 115400"/>
              <a:gd name="connsiteX1" fmla="*/ 328474 w 328474"/>
              <a:gd name="connsiteY1" fmla="*/ 0 h 115400"/>
              <a:gd name="connsiteX2" fmla="*/ 328474 w 328474"/>
              <a:gd name="connsiteY2" fmla="*/ 115400 h 115400"/>
              <a:gd name="connsiteX3" fmla="*/ 0 w 328474"/>
              <a:gd name="connsiteY3" fmla="*/ 115400 h 115400"/>
              <a:gd name="connsiteX4" fmla="*/ 0 w 328474"/>
              <a:gd name="connsiteY4" fmla="*/ 0 h 115400"/>
              <a:gd name="connsiteX0" fmla="*/ 0 w 351549"/>
              <a:gd name="connsiteY0" fmla="*/ 0 h 115400"/>
              <a:gd name="connsiteX1" fmla="*/ 328474 w 351549"/>
              <a:gd name="connsiteY1" fmla="*/ 0 h 115400"/>
              <a:gd name="connsiteX2" fmla="*/ 351549 w 351549"/>
              <a:gd name="connsiteY2" fmla="*/ 56723 h 115400"/>
              <a:gd name="connsiteX3" fmla="*/ 328474 w 351549"/>
              <a:gd name="connsiteY3" fmla="*/ 115400 h 115400"/>
              <a:gd name="connsiteX4" fmla="*/ 0 w 351549"/>
              <a:gd name="connsiteY4" fmla="*/ 115400 h 115400"/>
              <a:gd name="connsiteX5" fmla="*/ 0 w 35154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0 w 40869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699" h="115400">
                <a:moveTo>
                  <a:pt x="0" y="0"/>
                </a:moveTo>
                <a:lnTo>
                  <a:pt x="328474" y="0"/>
                </a:lnTo>
                <a:cubicBezTo>
                  <a:pt x="347110" y="14394"/>
                  <a:pt x="388175" y="47300"/>
                  <a:pt x="408699" y="62166"/>
                </a:cubicBezTo>
                <a:lnTo>
                  <a:pt x="328474" y="115400"/>
                </a:lnTo>
                <a:lnTo>
                  <a:pt x="0" y="115400"/>
                </a:lnTo>
                <a:cubicBezTo>
                  <a:pt x="32428" y="93820"/>
                  <a:pt x="67009" y="71297"/>
                  <a:pt x="97549" y="54909"/>
                </a:cubicBez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 w="12700" cap="flat" cmpd="sng" algn="ctr">
            <a:solidFill>
              <a:srgbClr val="EDAE1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8E9294F-BB5D-46ED-B464-54CBD1CF8C8D}"/>
              </a:ext>
            </a:extLst>
          </p:cNvPr>
          <p:cNvCxnSpPr/>
          <p:nvPr/>
        </p:nvCxnSpPr>
        <p:spPr>
          <a:xfrm flipH="1">
            <a:off x="283028" y="1070092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0A5D17E-15DF-4C7D-8634-463BF7667DBC}"/>
              </a:ext>
            </a:extLst>
          </p:cNvPr>
          <p:cNvCxnSpPr/>
          <p:nvPr/>
        </p:nvCxnSpPr>
        <p:spPr>
          <a:xfrm flipH="1">
            <a:off x="333034" y="1122066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4801302-3D6B-4CBE-AB1F-66B2163E9DE9}"/>
              </a:ext>
            </a:extLst>
          </p:cNvPr>
          <p:cNvCxnSpPr/>
          <p:nvPr/>
        </p:nvCxnSpPr>
        <p:spPr>
          <a:xfrm flipH="1">
            <a:off x="283028" y="1167990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1059732" y="682294"/>
            <a:ext cx="1084379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860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0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>
            <a:off x="1963091" y="1070092"/>
            <a:ext cx="11778343" cy="97898"/>
            <a:chOff x="283028" y="1070092"/>
            <a:chExt cx="11778343" cy="9789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739795" y="682294"/>
            <a:ext cx="9163727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330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2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 rot="5400000">
            <a:off x="-3773681" y="6033979"/>
            <a:ext cx="11778343" cy="97898"/>
            <a:chOff x="283028" y="1070092"/>
            <a:chExt cx="11778343" cy="9789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44477" y="590132"/>
            <a:ext cx="9228229" cy="584775"/>
          </a:xfrm>
        </p:spPr>
        <p:txBody>
          <a:bodyPr lIns="91440" tIns="45720" rIns="91440" bIns="45720"/>
          <a:lstStyle>
            <a:lvl1pPr marL="0" algn="l" defTabSz="914400" rtl="0" eaLnBrk="1" latinLnBrk="0" hangingPunct="1">
              <a:defRPr lang="en-US" sz="3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0826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BD0CCF64-679E-4CB8-8048-AF2370333156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8">
            <a:extLst>
              <a:ext uri="{FF2B5EF4-FFF2-40B4-BE49-F238E27FC236}">
                <a16:creationId xmlns:a16="http://schemas.microsoft.com/office/drawing/2014/main" id="{28C2FB08-5927-4322-9E4D-942431372235}"/>
              </a:ext>
            </a:extLst>
          </p:cNvPr>
          <p:cNvSpPr/>
          <p:nvPr userDrawn="1"/>
        </p:nvSpPr>
        <p:spPr>
          <a:xfrm>
            <a:off x="6670551" y="5850386"/>
            <a:ext cx="5521449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289412" y="682294"/>
            <a:ext cx="1061411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1589" y="1070092"/>
            <a:ext cx="11869783" cy="97898"/>
            <a:chOff x="191589" y="1070092"/>
            <a:chExt cx="11869783" cy="97898"/>
          </a:xfrm>
        </p:grpSpPr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3BEE02AA-3F87-4005-8099-FBC9718DDD55}"/>
                </a:ext>
              </a:extLst>
            </p:cNvPr>
            <p:cNvSpPr/>
            <p:nvPr/>
          </p:nvSpPr>
          <p:spPr>
            <a:xfrm>
              <a:off x="746937" y="1070092"/>
              <a:ext cx="485500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DC11E594-9CD6-4AA3-963B-7D63B33A4A51}"/>
                </a:ext>
              </a:extLst>
            </p:cNvPr>
            <p:cNvCxnSpPr/>
            <p:nvPr/>
          </p:nvCxnSpPr>
          <p:spPr>
            <a:xfrm flipH="1">
              <a:off x="191589" y="1070092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6E58C44-C5E8-4F2A-8768-7B02C6FA32F7}"/>
                </a:ext>
              </a:extLst>
            </p:cNvPr>
            <p:cNvCxnSpPr/>
            <p:nvPr/>
          </p:nvCxnSpPr>
          <p:spPr>
            <a:xfrm flipH="1">
              <a:off x="262269" y="1122066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A15D2565-0252-40A1-9AF8-9A87442F6F08}"/>
                </a:ext>
              </a:extLst>
            </p:cNvPr>
            <p:cNvCxnSpPr/>
            <p:nvPr/>
          </p:nvCxnSpPr>
          <p:spPr>
            <a:xfrm flipH="1">
              <a:off x="191589" y="1167990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89412" y="1118586"/>
              <a:ext cx="10771960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82048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7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058257" y="644194"/>
            <a:ext cx="10845265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E542512-36EF-412B-B089-57D5D6F17427}"/>
              </a:ext>
            </a:extLst>
          </p:cNvPr>
          <p:cNvGrpSpPr/>
          <p:nvPr userDrawn="1"/>
        </p:nvGrpSpPr>
        <p:grpSpPr>
          <a:xfrm>
            <a:off x="281553" y="998742"/>
            <a:ext cx="11778343" cy="97898"/>
            <a:chOff x="283028" y="1070092"/>
            <a:chExt cx="11778343" cy="97898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CB2A574-04D4-4196-9FFB-2730EAB1308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B3F89F9-A56C-4B93-916D-17D734A8A350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342FA8D-39D5-4A0E-B424-B6C5CF82D2AB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0FFE91A-B89F-4F15-B45A-2DDB75C8CD66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243F1C8E-2570-41A9-A43D-120A0A2FE922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5393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0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2866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2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9556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88478" y="1544274"/>
            <a:ext cx="3793922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7325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7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457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9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17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8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058257" y="644194"/>
            <a:ext cx="10845265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E542512-36EF-412B-B089-57D5D6F17427}"/>
              </a:ext>
            </a:extLst>
          </p:cNvPr>
          <p:cNvGrpSpPr/>
          <p:nvPr userDrawn="1"/>
        </p:nvGrpSpPr>
        <p:grpSpPr>
          <a:xfrm>
            <a:off x="281553" y="998742"/>
            <a:ext cx="11778343" cy="97898"/>
            <a:chOff x="283028" y="1070092"/>
            <a:chExt cx="11778343" cy="97898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CB2A574-04D4-4196-9FFB-2730EAB1308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B3F89F9-A56C-4B93-916D-17D734A8A350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342FA8D-39D5-4A0E-B424-B6C5CF82D2AB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0FFE91A-B89F-4F15-B45A-2DDB75C8CD66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243F1C8E-2570-41A9-A43D-120A0A2FE922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185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2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2929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4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3832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6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193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9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0306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1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804650"/>
            <a:ext cx="658907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89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4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594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6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1821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621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1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3737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3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5015168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0860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ags" Target="../tags/tag2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109.xml"/><Relationship Id="rId42" Type="http://schemas.openxmlformats.org/officeDocument/2006/relationships/slideLayout" Target="../slideLayouts/slideLayout117.xml"/><Relationship Id="rId47" Type="http://schemas.openxmlformats.org/officeDocument/2006/relationships/slideLayout" Target="../slideLayouts/slideLayout122.xml"/><Relationship Id="rId50" Type="http://schemas.openxmlformats.org/officeDocument/2006/relationships/slideLayout" Target="../slideLayouts/slideLayout125.xml"/><Relationship Id="rId55" Type="http://schemas.openxmlformats.org/officeDocument/2006/relationships/slideLayout" Target="../slideLayouts/slideLayout130.xml"/><Relationship Id="rId63" Type="http://schemas.openxmlformats.org/officeDocument/2006/relationships/slideLayout" Target="../slideLayouts/slideLayout138.xml"/><Relationship Id="rId68" Type="http://schemas.openxmlformats.org/officeDocument/2006/relationships/slideLayout" Target="../slideLayouts/slideLayout143.xml"/><Relationship Id="rId76" Type="http://schemas.openxmlformats.org/officeDocument/2006/relationships/theme" Target="../theme/theme2.xml"/><Relationship Id="rId7" Type="http://schemas.openxmlformats.org/officeDocument/2006/relationships/slideLayout" Target="../slideLayouts/slideLayout82.xml"/><Relationship Id="rId71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40" Type="http://schemas.openxmlformats.org/officeDocument/2006/relationships/slideLayout" Target="../slideLayouts/slideLayout115.xml"/><Relationship Id="rId45" Type="http://schemas.openxmlformats.org/officeDocument/2006/relationships/slideLayout" Target="../slideLayouts/slideLayout120.xml"/><Relationship Id="rId53" Type="http://schemas.openxmlformats.org/officeDocument/2006/relationships/slideLayout" Target="../slideLayouts/slideLayout128.xml"/><Relationship Id="rId58" Type="http://schemas.openxmlformats.org/officeDocument/2006/relationships/slideLayout" Target="../slideLayouts/slideLayout133.xml"/><Relationship Id="rId66" Type="http://schemas.openxmlformats.org/officeDocument/2006/relationships/slideLayout" Target="../slideLayouts/slideLayout141.xml"/><Relationship Id="rId74" Type="http://schemas.openxmlformats.org/officeDocument/2006/relationships/slideLayout" Target="../slideLayouts/slideLayout149.xml"/><Relationship Id="rId79" Type="http://schemas.openxmlformats.org/officeDocument/2006/relationships/tags" Target="../tags/tag123.xml"/><Relationship Id="rId5" Type="http://schemas.openxmlformats.org/officeDocument/2006/relationships/slideLayout" Target="../slideLayouts/slideLayout80.xml"/><Relationship Id="rId61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4" Type="http://schemas.openxmlformats.org/officeDocument/2006/relationships/slideLayout" Target="../slideLayouts/slideLayout119.xml"/><Relationship Id="rId52" Type="http://schemas.openxmlformats.org/officeDocument/2006/relationships/slideLayout" Target="../slideLayouts/slideLayout127.xml"/><Relationship Id="rId60" Type="http://schemas.openxmlformats.org/officeDocument/2006/relationships/slideLayout" Target="../slideLayouts/slideLayout135.xml"/><Relationship Id="rId65" Type="http://schemas.openxmlformats.org/officeDocument/2006/relationships/slideLayout" Target="../slideLayouts/slideLayout140.xml"/><Relationship Id="rId73" Type="http://schemas.openxmlformats.org/officeDocument/2006/relationships/slideLayout" Target="../slideLayouts/slideLayout148.xml"/><Relationship Id="rId78" Type="http://schemas.openxmlformats.org/officeDocument/2006/relationships/tags" Target="../tags/tag122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slideLayout" Target="../slideLayouts/slideLayout118.xml"/><Relationship Id="rId48" Type="http://schemas.openxmlformats.org/officeDocument/2006/relationships/slideLayout" Target="../slideLayouts/slideLayout123.xml"/><Relationship Id="rId56" Type="http://schemas.openxmlformats.org/officeDocument/2006/relationships/slideLayout" Target="../slideLayouts/slideLayout131.xml"/><Relationship Id="rId64" Type="http://schemas.openxmlformats.org/officeDocument/2006/relationships/slideLayout" Target="../slideLayouts/slideLayout139.xml"/><Relationship Id="rId69" Type="http://schemas.openxmlformats.org/officeDocument/2006/relationships/slideLayout" Target="../slideLayouts/slideLayout144.xml"/><Relationship Id="rId77" Type="http://schemas.openxmlformats.org/officeDocument/2006/relationships/vmlDrawing" Target="../drawings/vmlDrawing77.vml"/><Relationship Id="rId8" Type="http://schemas.openxmlformats.org/officeDocument/2006/relationships/slideLayout" Target="../slideLayouts/slideLayout83.xml"/><Relationship Id="rId51" Type="http://schemas.openxmlformats.org/officeDocument/2006/relationships/slideLayout" Target="../slideLayouts/slideLayout126.xml"/><Relationship Id="rId72" Type="http://schemas.openxmlformats.org/officeDocument/2006/relationships/slideLayout" Target="../slideLayouts/slideLayout147.xml"/><Relationship Id="rId80" Type="http://schemas.openxmlformats.org/officeDocument/2006/relationships/oleObject" Target="../embeddings/oleObject77.bin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Relationship Id="rId46" Type="http://schemas.openxmlformats.org/officeDocument/2006/relationships/slideLayout" Target="../slideLayouts/slideLayout121.xml"/><Relationship Id="rId59" Type="http://schemas.openxmlformats.org/officeDocument/2006/relationships/slideLayout" Target="../slideLayouts/slideLayout134.xml"/><Relationship Id="rId67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16.xml"/><Relationship Id="rId54" Type="http://schemas.openxmlformats.org/officeDocument/2006/relationships/slideLayout" Target="../slideLayouts/slideLayout129.xml"/><Relationship Id="rId62" Type="http://schemas.openxmlformats.org/officeDocument/2006/relationships/slideLayout" Target="../slideLayouts/slideLayout137.xml"/><Relationship Id="rId70" Type="http://schemas.openxmlformats.org/officeDocument/2006/relationships/slideLayout" Target="../slideLayouts/slideLayout145.xml"/><Relationship Id="rId75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49" Type="http://schemas.openxmlformats.org/officeDocument/2006/relationships/slideLayout" Target="../slideLayouts/slideLayout124.xml"/><Relationship Id="rId57" Type="http://schemas.openxmlformats.org/officeDocument/2006/relationships/slideLayout" Target="../slideLayouts/slideLayout1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2282681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42"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752478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259" r:id="rId8"/>
    <p:sldLayoutId id="2147485260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15" r:id="rId32"/>
    <p:sldLayoutId id="2147485216" r:id="rId33"/>
    <p:sldLayoutId id="2147485217" r:id="rId34"/>
    <p:sldLayoutId id="2147485218" r:id="rId35"/>
    <p:sldLayoutId id="2147485219" r:id="rId36"/>
    <p:sldLayoutId id="2147485220" r:id="rId37"/>
    <p:sldLayoutId id="2147485221" r:id="rId38"/>
    <p:sldLayoutId id="2147485222" r:id="rId39"/>
    <p:sldLayoutId id="2147485223" r:id="rId40"/>
    <p:sldLayoutId id="2147485224" r:id="rId41"/>
    <p:sldLayoutId id="2147485225" r:id="rId42"/>
    <p:sldLayoutId id="2147485226" r:id="rId43"/>
    <p:sldLayoutId id="2147485227" r:id="rId44"/>
    <p:sldLayoutId id="2147485228" r:id="rId45"/>
    <p:sldLayoutId id="2147485229" r:id="rId46"/>
    <p:sldLayoutId id="2147485230" r:id="rId47"/>
    <p:sldLayoutId id="2147485231" r:id="rId48"/>
    <p:sldLayoutId id="2147485232" r:id="rId49"/>
    <p:sldLayoutId id="2147485233" r:id="rId50"/>
    <p:sldLayoutId id="2147485234" r:id="rId51"/>
    <p:sldLayoutId id="2147485235" r:id="rId52"/>
    <p:sldLayoutId id="2147485236" r:id="rId53"/>
    <p:sldLayoutId id="2147485237" r:id="rId54"/>
    <p:sldLayoutId id="2147485238" r:id="rId55"/>
    <p:sldLayoutId id="2147485239" r:id="rId56"/>
    <p:sldLayoutId id="2147485240" r:id="rId57"/>
    <p:sldLayoutId id="2147485241" r:id="rId58"/>
    <p:sldLayoutId id="2147485242" r:id="rId59"/>
    <p:sldLayoutId id="2147485243" r:id="rId60"/>
    <p:sldLayoutId id="2147485244" r:id="rId61"/>
    <p:sldLayoutId id="2147485245" r:id="rId62"/>
    <p:sldLayoutId id="2147485246" r:id="rId63"/>
    <p:sldLayoutId id="2147485247" r:id="rId64"/>
    <p:sldLayoutId id="2147485248" r:id="rId65"/>
    <p:sldLayoutId id="2147485249" r:id="rId66"/>
    <p:sldLayoutId id="2147485250" r:id="rId67"/>
    <p:sldLayoutId id="2147485251" r:id="rId68"/>
    <p:sldLayoutId id="2147485252" r:id="rId69"/>
    <p:sldLayoutId id="2147485253" r:id="rId70"/>
    <p:sldLayoutId id="2147485254" r:id="rId71"/>
    <p:sldLayoutId id="2147485255" r:id="rId72"/>
    <p:sldLayoutId id="2147485256" r:id="rId73"/>
    <p:sldLayoutId id="2147485257" r:id="rId74"/>
    <p:sldLayoutId id="2147485258" r:id="rId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60"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909430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2" r:id="rId1"/>
    <p:sldLayoutId id="2147485263" r:id="rId2"/>
    <p:sldLayoutId id="2147485264" r:id="rId3"/>
    <p:sldLayoutId id="2147485265" r:id="rId4"/>
    <p:sldLayoutId id="2147485266" r:id="rId5"/>
    <p:sldLayoutId id="2147485267" r:id="rId6"/>
    <p:sldLayoutId id="2147485268" r:id="rId7"/>
    <p:sldLayoutId id="2147485269" r:id="rId8"/>
    <p:sldLayoutId id="2147485270" r:id="rId9"/>
    <p:sldLayoutId id="2147485271" r:id="rId10"/>
    <p:sldLayoutId id="2147485272" r:id="rId11"/>
    <p:sldLayoutId id="2147485273" r:id="rId12"/>
    <p:sldLayoutId id="2147485274" r:id="rId13"/>
    <p:sldLayoutId id="2147485275" r:id="rId14"/>
    <p:sldLayoutId id="2147485276" r:id="rId15"/>
    <p:sldLayoutId id="2147485277" r:id="rId16"/>
    <p:sldLayoutId id="2147485278" r:id="rId17"/>
    <p:sldLayoutId id="2147485279" r:id="rId18"/>
    <p:sldLayoutId id="2147485280" r:id="rId19"/>
    <p:sldLayoutId id="2147485281" r:id="rId20"/>
    <p:sldLayoutId id="2147485282" r:id="rId21"/>
    <p:sldLayoutId id="2147485283" r:id="rId22"/>
    <p:sldLayoutId id="2147485284" r:id="rId23"/>
    <p:sldLayoutId id="2147485285" r:id="rId24"/>
    <p:sldLayoutId id="2147485286" r:id="rId25"/>
    <p:sldLayoutId id="2147485287" r:id="rId26"/>
    <p:sldLayoutId id="2147485288" r:id="rId27"/>
    <p:sldLayoutId id="2147485289" r:id="rId28"/>
    <p:sldLayoutId id="2147485290" r:id="rId29"/>
    <p:sldLayoutId id="2147485291" r:id="rId30"/>
    <p:sldLayoutId id="2147485292" r:id="rId31"/>
    <p:sldLayoutId id="2147485293" r:id="rId32"/>
    <p:sldLayoutId id="2147485294" r:id="rId33"/>
    <p:sldLayoutId id="2147485295" r:id="rId34"/>
    <p:sldLayoutId id="2147485296" r:id="rId35"/>
    <p:sldLayoutId id="2147485297" r:id="rId36"/>
    <p:sldLayoutId id="2147485298" r:id="rId37"/>
    <p:sldLayoutId id="2147485299" r:id="rId38"/>
    <p:sldLayoutId id="2147485300" r:id="rId39"/>
    <p:sldLayoutId id="2147485301" r:id="rId40"/>
    <p:sldLayoutId id="2147485302" r:id="rId41"/>
    <p:sldLayoutId id="2147485303" r:id="rId42"/>
    <p:sldLayoutId id="2147485304" r:id="rId43"/>
    <p:sldLayoutId id="2147485305" r:id="rId44"/>
    <p:sldLayoutId id="2147485306" r:id="rId45"/>
    <p:sldLayoutId id="2147485307" r:id="rId46"/>
    <p:sldLayoutId id="2147485308" r:id="rId47"/>
    <p:sldLayoutId id="2147485309" r:id="rId48"/>
    <p:sldLayoutId id="2147485310" r:id="rId49"/>
    <p:sldLayoutId id="2147485311" r:id="rId50"/>
    <p:sldLayoutId id="2147485312" r:id="rId51"/>
    <p:sldLayoutId id="2147485313" r:id="rId52"/>
    <p:sldLayoutId id="2147485314" r:id="rId53"/>
    <p:sldLayoutId id="2147485315" r:id="rId54"/>
    <p:sldLayoutId id="2147485316" r:id="rId55"/>
    <p:sldLayoutId id="2147485317" r:id="rId56"/>
    <p:sldLayoutId id="2147485318" r:id="rId57"/>
    <p:sldLayoutId id="2147485319" r:id="rId58"/>
    <p:sldLayoutId id="2147485320" r:id="rId59"/>
    <p:sldLayoutId id="2147485321" r:id="rId60"/>
    <p:sldLayoutId id="2147485322" r:id="rId61"/>
    <p:sldLayoutId id="2147485323" r:id="rId62"/>
    <p:sldLayoutId id="2147485324" r:id="rId63"/>
    <p:sldLayoutId id="2147485325" r:id="rId64"/>
    <p:sldLayoutId id="2147485326" r:id="rId65"/>
    <p:sldLayoutId id="2147485327" r:id="rId66"/>
    <p:sldLayoutId id="2147485328" r:id="rId67"/>
    <p:sldLayoutId id="2147485329" r:id="rId68"/>
    <p:sldLayoutId id="2147485330" r:id="rId69"/>
    <p:sldLayoutId id="2147485331" r:id="rId70"/>
    <p:sldLayoutId id="2147485332" r:id="rId71"/>
    <p:sldLayoutId id="2147485333" r:id="rId72"/>
    <p:sldLayoutId id="2147485334" r:id="rId73"/>
    <p:sldLayoutId id="2147485335" r:id="rId74"/>
    <p:sldLayoutId id="2147485336" r:id="rId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cog.org/clinical/clinical-guidance/practice-advisory/articles/2020/12/vaccinating-pregnant-and-lactating-patients-against-covid-19" TargetMode="External"/><Relationship Id="rId3" Type="http://schemas.openxmlformats.org/officeDocument/2006/relationships/tags" Target="../tags/tag259.xml"/><Relationship Id="rId7" Type="http://schemas.openxmlformats.org/officeDocument/2006/relationships/hyperlink" Target="https://www.cdc.gov/coronavirus/2019-ncov/need-extra-precautions/people-with-medical-conditions.html" TargetMode="External"/><Relationship Id="rId2" Type="http://schemas.openxmlformats.org/officeDocument/2006/relationships/tags" Target="../tags/tag258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0.bin"/><Relationship Id="rId4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24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53.vml"/><Relationship Id="rId6" Type="http://schemas.openxmlformats.org/officeDocument/2006/relationships/slideLayout" Target="../slideLayouts/slideLayout46.xml"/><Relationship Id="rId5" Type="http://schemas.openxmlformats.org/officeDocument/2006/relationships/tags" Target="../tags/tag245.xml"/><Relationship Id="rId10" Type="http://schemas.openxmlformats.org/officeDocument/2006/relationships/image" Target="../media/image13.jpg"/><Relationship Id="rId4" Type="http://schemas.openxmlformats.org/officeDocument/2006/relationships/tags" Target="../tags/tag244.xml"/><Relationship Id="rId9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isa.gov/sites/default/files/publications/ECIW_4.0_Guidance_on_Essential_Critical_Infrastructure_Workers_Final3_508_0.pdf" TargetMode="External"/><Relationship Id="rId3" Type="http://schemas.openxmlformats.org/officeDocument/2006/relationships/tags" Target="../tags/tag247.xml"/><Relationship Id="rId7" Type="http://schemas.openxmlformats.org/officeDocument/2006/relationships/image" Target="../media/image12.emf"/><Relationship Id="rId12" Type="http://schemas.openxmlformats.org/officeDocument/2006/relationships/hyperlink" Target="https://www.cdc.gov/coronavirus/2019-ncov/index.html" TargetMode="External"/><Relationship Id="rId2" Type="http://schemas.openxmlformats.org/officeDocument/2006/relationships/tags" Target="../tags/tag246.xml"/><Relationship Id="rId1" Type="http://schemas.openxmlformats.org/officeDocument/2006/relationships/vmlDrawing" Target="../drawings/vmlDrawing154.vml"/><Relationship Id="rId6" Type="http://schemas.openxmlformats.org/officeDocument/2006/relationships/oleObject" Target="../embeddings/oleObject154.bin"/><Relationship Id="rId11" Type="http://schemas.openxmlformats.org/officeDocument/2006/relationships/hyperlink" Target="https://www.cdc.gov/coronavirus/2019-ncov/hcp/nursing-homes-responding.html" TargetMode="External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www.cdc.gov/coronavirus/2019-ncov/community/homeless-shelters/plan-prepare-respond.html" TargetMode="External"/><Relationship Id="rId4" Type="http://schemas.openxmlformats.org/officeDocument/2006/relationships/slideLayout" Target="../slideLayouts/slideLayout21.xml"/><Relationship Id="rId9" Type="http://schemas.openxmlformats.org/officeDocument/2006/relationships/hyperlink" Target="https://www.cdc.gov/coronavirus/2019-ncov/daily-life-coping/living-in-close-quarters.htm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14.emf"/><Relationship Id="rId2" Type="http://schemas.openxmlformats.org/officeDocument/2006/relationships/tags" Target="../tags/tag248.xml"/><Relationship Id="rId1" Type="http://schemas.openxmlformats.org/officeDocument/2006/relationships/vmlDrawing" Target="../drawings/vmlDrawing155.vml"/><Relationship Id="rId6" Type="http://schemas.openxmlformats.org/officeDocument/2006/relationships/oleObject" Target="../embeddings/oleObject15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isa.gov/identifying-critical-infrastructure-during-covid-19" TargetMode="External"/><Relationship Id="rId3" Type="http://schemas.openxmlformats.org/officeDocument/2006/relationships/tags" Target="../tags/tag251.xml"/><Relationship Id="rId7" Type="http://schemas.openxmlformats.org/officeDocument/2006/relationships/image" Target="../media/image14.emf"/><Relationship Id="rId2" Type="http://schemas.openxmlformats.org/officeDocument/2006/relationships/tags" Target="../tags/tag250.xml"/><Relationship Id="rId1" Type="http://schemas.openxmlformats.org/officeDocument/2006/relationships/vmlDrawing" Target="../drawings/vmlDrawing156.vml"/><Relationship Id="rId6" Type="http://schemas.openxmlformats.org/officeDocument/2006/relationships/oleObject" Target="../embeddings/oleObject15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7.bin"/><Relationship Id="rId4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dc.gov/coronavirus/2019-ncov/need-extra-precautions/people-with-medical-conditions.html" TargetMode="External"/><Relationship Id="rId3" Type="http://schemas.openxmlformats.org/officeDocument/2006/relationships/tags" Target="../tags/tag255.xml"/><Relationship Id="rId7" Type="http://schemas.openxmlformats.org/officeDocument/2006/relationships/hyperlink" Target="https://www.acog.org/clinical/clinical-guidance/practice-advisory/articles/2020/12/vaccinating-pregnant-and-lactating-patients-against-covid-19" TargetMode="External"/><Relationship Id="rId2" Type="http://schemas.openxmlformats.org/officeDocument/2006/relationships/tags" Target="../tags/tag254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58.bin"/><Relationship Id="rId4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isa.gov/identifying-critical-infrastructure-during-covid-19" TargetMode="External"/><Relationship Id="rId3" Type="http://schemas.openxmlformats.org/officeDocument/2006/relationships/tags" Target="../tags/tag257.xml"/><Relationship Id="rId7" Type="http://schemas.openxmlformats.org/officeDocument/2006/relationships/image" Target="../media/image14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59.vml"/><Relationship Id="rId6" Type="http://schemas.openxmlformats.org/officeDocument/2006/relationships/oleObject" Target="../embeddings/oleObject15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05235" y="2530574"/>
            <a:ext cx="5827128" cy="502702"/>
          </a:xfrm>
        </p:spPr>
        <p:txBody>
          <a:bodyPr/>
          <a:lstStyle/>
          <a:p>
            <a:r>
              <a:rPr lang="en-US" sz="3000" dirty="0" err="1"/>
              <a:t>Prioridad</a:t>
            </a:r>
            <a:r>
              <a:rPr lang="en-US" sz="3000" dirty="0"/>
              <a:t> de </a:t>
            </a:r>
            <a:r>
              <a:rPr lang="en-US" sz="3000" dirty="0" err="1"/>
              <a:t>Vacunación</a:t>
            </a:r>
            <a:endParaRPr lang="en-US" sz="3000" dirty="0"/>
          </a:p>
          <a:p>
            <a:r>
              <a:rPr lang="en-US" sz="3000" dirty="0"/>
              <a:t> contra  </a:t>
            </a:r>
          </a:p>
          <a:p>
            <a:r>
              <a:rPr lang="en-US" sz="3000" dirty="0"/>
              <a:t>COVID-19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093243" y="4270891"/>
            <a:ext cx="5827128" cy="424004"/>
          </a:xfrm>
        </p:spPr>
        <p:txBody>
          <a:bodyPr/>
          <a:lstStyle/>
          <a:p>
            <a:r>
              <a:rPr lang="en-US" dirty="0"/>
              <a:t>15 de </a:t>
            </a:r>
            <a:r>
              <a:rPr lang="en-US" dirty="0" err="1"/>
              <a:t>marzo</a:t>
            </a:r>
            <a:r>
              <a:rPr lang="en-US" dirty="0"/>
              <a:t> de 2021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14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C74C-AE5C-42D9-83A5-811610910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478" y="389221"/>
            <a:ext cx="11615045" cy="6647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Fase 4 | </a:t>
            </a:r>
            <a:r>
              <a:rPr lang="en-US" dirty="0" err="1"/>
              <a:t>Edades</a:t>
            </a:r>
            <a:r>
              <a:rPr lang="en-US" dirty="0"/>
              <a:t> de 16 a 64 con </a:t>
            </a:r>
            <a:r>
              <a:rPr lang="en-US" b="1" u="sng" dirty="0" err="1"/>
              <a:t>otros</a:t>
            </a:r>
            <a:r>
              <a:rPr lang="en-US" dirty="0"/>
              <a:t> </a:t>
            </a:r>
            <a:r>
              <a:rPr lang="en-US" dirty="0" err="1"/>
              <a:t>riesgos</a:t>
            </a:r>
            <a:r>
              <a:rPr lang="en-US" dirty="0"/>
              <a:t> </a:t>
            </a:r>
            <a:r>
              <a:rPr lang="en-US" dirty="0" err="1"/>
              <a:t>médicos</a:t>
            </a:r>
            <a:r>
              <a:rPr lang="en-US" dirty="0"/>
              <a:t>: </a:t>
            </a:r>
            <a:r>
              <a:rPr lang="es-ES" dirty="0"/>
              <a:t>Identificando las características y definición del trabajo</a:t>
            </a:r>
            <a:r>
              <a:rPr lang="en-US" dirty="0"/>
              <a:t> 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5BD9B3A2-A7C5-43DA-B99F-C233B960B821}"/>
              </a:ext>
            </a:extLst>
          </p:cNvPr>
          <p:cNvSpPr txBox="1"/>
          <p:nvPr/>
        </p:nvSpPr>
        <p:spPr>
          <a:xfrm>
            <a:off x="3468029" y="2632282"/>
            <a:ext cx="8435493" cy="47952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s en el grupo de edad objetivo que hayan sido diagnosticadas con cualquiera de las condiciones enumeradas hasta estos momentos en la lista de «datos e información concluyente»,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proporcionada por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el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CDC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ver la parte inferior).</a:t>
            </a:r>
          </a:p>
        </p:txBody>
      </p:sp>
      <p:sp>
        <p:nvSpPr>
          <p:cNvPr id="37" name="ee4pHeader1">
            <a:extLst>
              <a:ext uri="{FF2B5EF4-FFF2-40B4-BE49-F238E27FC236}">
                <a16:creationId xmlns:a16="http://schemas.microsoft.com/office/drawing/2014/main" id="{99576483-DC11-4253-A79D-8030C41DDDB7}"/>
              </a:ext>
            </a:extLst>
          </p:cNvPr>
          <p:cNvSpPr txBox="1"/>
          <p:nvPr/>
        </p:nvSpPr>
        <p:spPr>
          <a:xfrm>
            <a:off x="3468029" y="1445448"/>
            <a:ext cx="8435493" cy="73866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s de 16 a 64 años con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dicione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édica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mentan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l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esgo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vero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aer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 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252306-3D77-40FD-9AB8-1540045624C6}"/>
              </a:ext>
            </a:extLst>
          </p:cNvPr>
          <p:cNvSpPr txBox="1"/>
          <p:nvPr/>
        </p:nvSpPr>
        <p:spPr>
          <a:xfrm>
            <a:off x="3437813" y="3335895"/>
            <a:ext cx="8435493" cy="28590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La segunda lista de condiciones del CDC, incluye (pero no limita):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Asma (moderada a severa)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Enfermedad cerebrovascular (afecta los vasos sanguíneos y el suministro de oxígeno al cerebro)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Fibrosis quística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Estado del sistema inmunológico comprometido (debilitado) debido a trasplante de sangre o médula ósea, inmuno deficiencias, HIV, uso de corticosteroides, o uso de otras medicinas que debilitan el sistema inmunológico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Condiciones neurológicas, tales como demencia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Enfermedad del hígado (hepatopatía)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/>
                </a:solidFill>
                <a:latin typeface="Calibri" panose="020F0502020204030204" pitchFamily="34" charset="0"/>
              </a:rPr>
              <a:t>Fibrosis pulmonar (tener tejidos del pulmón dañados o con cicatrices)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/>
                </a:solidFill>
                <a:latin typeface="Calibri" panose="020F0502020204030204" pitchFamily="34" charset="0"/>
              </a:rPr>
              <a:t>Talasemia (un tipo de desorden de la sangre)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/>
                </a:solidFill>
                <a:latin typeface="Calibri" panose="020F0502020204030204" pitchFamily="34" charset="0"/>
              </a:rPr>
              <a:t>Diabetes mellitus tipo 1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GT" sz="1400" dirty="0">
                <a:solidFill>
                  <a:srgbClr val="000000"/>
                </a:solidFill>
                <a:latin typeface="Calibri" panose="020F0502020204030204" pitchFamily="34" charset="0"/>
              </a:rPr>
              <a:t>Obesidad y obesidad severa </a:t>
            </a:r>
          </a:p>
          <a:p>
            <a:pPr marL="2988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endParaRPr lang="es-GT" sz="14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</a:endParaRP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endParaRPr lang="es-GT" sz="14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7F5469D-5785-4FF3-999B-CB75B4AB6A3D}"/>
              </a:ext>
            </a:extLst>
          </p:cNvPr>
          <p:cNvCxnSpPr/>
          <p:nvPr/>
        </p:nvCxnSpPr>
        <p:spPr>
          <a:xfrm>
            <a:off x="3468029" y="3335896"/>
            <a:ext cx="843549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2B8311-ADFE-4A28-A8C6-73857A476D07}"/>
              </a:ext>
            </a:extLst>
          </p:cNvPr>
          <p:cNvCxnSpPr/>
          <p:nvPr/>
        </p:nvCxnSpPr>
        <p:spPr>
          <a:xfrm>
            <a:off x="3468029" y="2408197"/>
            <a:ext cx="843549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2F2A7B3-D6BB-48F6-B69F-7214E8CD27F2}"/>
              </a:ext>
            </a:extLst>
          </p:cNvPr>
          <p:cNvGrpSpPr/>
          <p:nvPr/>
        </p:nvGrpSpPr>
        <p:grpSpPr>
          <a:xfrm>
            <a:off x="-1" y="3559981"/>
            <a:ext cx="3361060" cy="738663"/>
            <a:chOff x="-1" y="4475358"/>
            <a:chExt cx="3361060" cy="738663"/>
          </a:xfrm>
        </p:grpSpPr>
        <p:sp>
          <p:nvSpPr>
            <p:cNvPr id="85" name="Rectangle: Top Corners Rounded 84">
              <a:extLst>
                <a:ext uri="{FF2B5EF4-FFF2-40B4-BE49-F238E27FC236}">
                  <a16:creationId xmlns:a16="http://schemas.microsoft.com/office/drawing/2014/main" id="{31470719-9A47-470A-B67E-02552711DF7C}"/>
                </a:ext>
              </a:extLst>
            </p:cNvPr>
            <p:cNvSpPr/>
            <p:nvPr/>
          </p:nvSpPr>
          <p:spPr>
            <a:xfrm rot="5400000">
              <a:off x="1311197" y="316416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58" name="ee4pHeader1">
              <a:extLst>
                <a:ext uri="{FF2B5EF4-FFF2-40B4-BE49-F238E27FC236}">
                  <a16:creationId xmlns:a16="http://schemas.microsoft.com/office/drawing/2014/main" id="{E7F06789-D3BC-4918-A9EF-0C0DD6FCF9E3}"/>
                </a:ext>
              </a:extLst>
            </p:cNvPr>
            <p:cNvSpPr txBox="1"/>
            <p:nvPr/>
          </p:nvSpPr>
          <p:spPr>
            <a:xfrm>
              <a:off x="288478" y="4567691"/>
              <a:ext cx="2923073" cy="55399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Ejempl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grup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incluíd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8096C6B-D1DE-4DF8-8CB5-A0C6624FD5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94" y="4621503"/>
              <a:ext cx="446374" cy="446374"/>
              <a:chOff x="5273803" y="2606803"/>
              <a:chExt cx="1645920" cy="1645920"/>
            </a:xfrm>
          </p:grpSpPr>
          <p:sp>
            <p:nvSpPr>
              <p:cNvPr id="70" name="AutoShape 23">
                <a:extLst>
                  <a:ext uri="{FF2B5EF4-FFF2-40B4-BE49-F238E27FC236}">
                    <a16:creationId xmlns:a16="http://schemas.microsoft.com/office/drawing/2014/main" id="{62B18B25-0EB8-45F3-BFFF-DD6BFA36E6C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2252E39A-8CC0-4F03-99B2-82590A1737F7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72" name="Freeform 25">
                  <a:extLst>
                    <a:ext uri="{FF2B5EF4-FFF2-40B4-BE49-F238E27FC236}">
                      <a16:creationId xmlns:a16="http://schemas.microsoft.com/office/drawing/2014/main" id="{50C2BBA6-A012-4188-AC95-091A6BE3DE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26">
                  <a:extLst>
                    <a:ext uri="{FF2B5EF4-FFF2-40B4-BE49-F238E27FC236}">
                      <a16:creationId xmlns:a16="http://schemas.microsoft.com/office/drawing/2014/main" id="{CE73B817-D84A-47E9-8073-B40D6947AE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D6A6313-F2AC-4B96-AE76-F1363BD7B212}"/>
              </a:ext>
            </a:extLst>
          </p:cNvPr>
          <p:cNvGrpSpPr/>
          <p:nvPr/>
        </p:nvGrpSpPr>
        <p:grpSpPr>
          <a:xfrm>
            <a:off x="-1" y="2502715"/>
            <a:ext cx="3361060" cy="738663"/>
            <a:chOff x="-1" y="2404883"/>
            <a:chExt cx="3361060" cy="738663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B1D4A7D-A057-40F0-8D6F-126C4F5FE216}"/>
                </a:ext>
              </a:extLst>
            </p:cNvPr>
            <p:cNvSpPr/>
            <p:nvPr/>
          </p:nvSpPr>
          <p:spPr>
            <a:xfrm rot="5400000">
              <a:off x="1311197" y="1093685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50" name="ee4pHeader1">
              <a:extLst>
                <a:ext uri="{FF2B5EF4-FFF2-40B4-BE49-F238E27FC236}">
                  <a16:creationId xmlns:a16="http://schemas.microsoft.com/office/drawing/2014/main" id="{AAAE9409-232E-473A-A460-10217C294E67}"/>
                </a:ext>
              </a:extLst>
            </p:cNvPr>
            <p:cNvSpPr txBox="1"/>
            <p:nvPr/>
          </p:nvSpPr>
          <p:spPr>
            <a:xfrm>
              <a:off x="288478" y="2635715"/>
              <a:ext cx="2923073" cy="2769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scrip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C41AA7F-FD9A-42F9-A683-5AB5E4B5DDB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02" y="2551028"/>
              <a:ext cx="445944" cy="446374"/>
              <a:chOff x="5273675" y="2605088"/>
              <a:chExt cx="1644650" cy="1646237"/>
            </a:xfrm>
          </p:grpSpPr>
          <p:sp>
            <p:nvSpPr>
              <p:cNvPr id="52" name="AutoShape 13">
                <a:extLst>
                  <a:ext uri="{FF2B5EF4-FFF2-40B4-BE49-F238E27FC236}">
                    <a16:creationId xmlns:a16="http://schemas.microsoft.com/office/drawing/2014/main" id="{D3958757-6583-40F5-A2F0-7428091C491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7D1AF4A-8C3C-4B5D-B5E8-6F3F74F1F8B8}"/>
                  </a:ext>
                </a:extLst>
              </p:cNvPr>
              <p:cNvGrpSpPr/>
              <p:nvPr/>
            </p:nvGrpSpPr>
            <p:grpSpPr>
              <a:xfrm>
                <a:off x="5374481" y="2739232"/>
                <a:ext cx="1443038" cy="1377949"/>
                <a:chOff x="5373687" y="2738438"/>
                <a:chExt cx="1443038" cy="1377949"/>
              </a:xfrm>
            </p:grpSpPr>
            <p:sp>
              <p:nvSpPr>
                <p:cNvPr id="54" name="Freeform 15">
                  <a:extLst>
                    <a:ext uri="{FF2B5EF4-FFF2-40B4-BE49-F238E27FC236}">
                      <a16:creationId xmlns:a16="http://schemas.microsoft.com/office/drawing/2014/main" id="{8DFBCED0-131E-4F94-9189-BF85153B57D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37225" y="2797175"/>
                  <a:ext cx="701675" cy="582612"/>
                </a:xfrm>
                <a:custGeom>
                  <a:avLst/>
                  <a:gdLst>
                    <a:gd name="T0" fmla="*/ 958 w 983"/>
                    <a:gd name="T1" fmla="*/ 576 h 816"/>
                    <a:gd name="T2" fmla="*/ 960 w 983"/>
                    <a:gd name="T3" fmla="*/ 487 h 816"/>
                    <a:gd name="T4" fmla="*/ 139 w 983"/>
                    <a:gd name="T5" fmla="*/ 142 h 816"/>
                    <a:gd name="T6" fmla="*/ 31 w 983"/>
                    <a:gd name="T7" fmla="*/ 692 h 816"/>
                    <a:gd name="T8" fmla="*/ 48 w 983"/>
                    <a:gd name="T9" fmla="*/ 700 h 816"/>
                    <a:gd name="T10" fmla="*/ 62 w 983"/>
                    <a:gd name="T11" fmla="*/ 695 h 816"/>
                    <a:gd name="T12" fmla="*/ 65 w 983"/>
                    <a:gd name="T13" fmla="*/ 664 h 816"/>
                    <a:gd name="T14" fmla="*/ 87 w 983"/>
                    <a:gd name="T15" fmla="*/ 291 h 816"/>
                    <a:gd name="T16" fmla="*/ 212 w 983"/>
                    <a:gd name="T17" fmla="*/ 414 h 816"/>
                    <a:gd name="T18" fmla="*/ 155 w 983"/>
                    <a:gd name="T19" fmla="*/ 455 h 816"/>
                    <a:gd name="T20" fmla="*/ 242 w 983"/>
                    <a:gd name="T21" fmla="*/ 455 h 816"/>
                    <a:gd name="T22" fmla="*/ 330 w 983"/>
                    <a:gd name="T23" fmla="*/ 364 h 816"/>
                    <a:gd name="T24" fmla="*/ 353 w 983"/>
                    <a:gd name="T25" fmla="*/ 365 h 816"/>
                    <a:gd name="T26" fmla="*/ 408 w 983"/>
                    <a:gd name="T27" fmla="*/ 467 h 816"/>
                    <a:gd name="T28" fmla="*/ 376 w 983"/>
                    <a:gd name="T29" fmla="*/ 659 h 816"/>
                    <a:gd name="T30" fmla="*/ 349 w 983"/>
                    <a:gd name="T31" fmla="*/ 679 h 816"/>
                    <a:gd name="T32" fmla="*/ 170 w 983"/>
                    <a:gd name="T33" fmla="*/ 675 h 816"/>
                    <a:gd name="T34" fmla="*/ 122 w 983"/>
                    <a:gd name="T35" fmla="*/ 676 h 816"/>
                    <a:gd name="T36" fmla="*/ 104 w 983"/>
                    <a:gd name="T37" fmla="*/ 712 h 816"/>
                    <a:gd name="T38" fmla="*/ 147 w 983"/>
                    <a:gd name="T39" fmla="*/ 755 h 816"/>
                    <a:gd name="T40" fmla="*/ 348 w 983"/>
                    <a:gd name="T41" fmla="*/ 723 h 816"/>
                    <a:gd name="T42" fmla="*/ 417 w 983"/>
                    <a:gd name="T43" fmla="*/ 816 h 816"/>
                    <a:gd name="T44" fmla="*/ 420 w 983"/>
                    <a:gd name="T45" fmla="*/ 729 h 816"/>
                    <a:gd name="T46" fmla="*/ 474 w 983"/>
                    <a:gd name="T47" fmla="*/ 740 h 816"/>
                    <a:gd name="T48" fmla="*/ 558 w 983"/>
                    <a:gd name="T49" fmla="*/ 739 h 816"/>
                    <a:gd name="T50" fmla="*/ 617 w 983"/>
                    <a:gd name="T51" fmla="*/ 735 h 816"/>
                    <a:gd name="T52" fmla="*/ 626 w 983"/>
                    <a:gd name="T53" fmla="*/ 816 h 816"/>
                    <a:gd name="T54" fmla="*/ 682 w 983"/>
                    <a:gd name="T55" fmla="*/ 725 h 816"/>
                    <a:gd name="T56" fmla="*/ 852 w 983"/>
                    <a:gd name="T57" fmla="*/ 765 h 816"/>
                    <a:gd name="T58" fmla="*/ 896 w 983"/>
                    <a:gd name="T59" fmla="*/ 721 h 816"/>
                    <a:gd name="T60" fmla="*/ 852 w 983"/>
                    <a:gd name="T61" fmla="*/ 678 h 816"/>
                    <a:gd name="T62" fmla="*/ 683 w 983"/>
                    <a:gd name="T63" fmla="*/ 680 h 816"/>
                    <a:gd name="T64" fmla="*/ 654 w 983"/>
                    <a:gd name="T65" fmla="*/ 659 h 816"/>
                    <a:gd name="T66" fmla="*/ 613 w 983"/>
                    <a:gd name="T67" fmla="*/ 467 h 816"/>
                    <a:gd name="T68" fmla="*/ 674 w 983"/>
                    <a:gd name="T69" fmla="*/ 366 h 816"/>
                    <a:gd name="T70" fmla="*/ 695 w 983"/>
                    <a:gd name="T71" fmla="*/ 361 h 816"/>
                    <a:gd name="T72" fmla="*/ 765 w 983"/>
                    <a:gd name="T73" fmla="*/ 437 h 816"/>
                    <a:gd name="T74" fmla="*/ 852 w 983"/>
                    <a:gd name="T75" fmla="*/ 437 h 816"/>
                    <a:gd name="T76" fmla="*/ 796 w 983"/>
                    <a:gd name="T77" fmla="*/ 395 h 816"/>
                    <a:gd name="T78" fmla="*/ 870 w 983"/>
                    <a:gd name="T79" fmla="*/ 286 h 816"/>
                    <a:gd name="T80" fmla="*/ 916 w 983"/>
                    <a:gd name="T81" fmla="*/ 505 h 816"/>
                    <a:gd name="T82" fmla="*/ 914 w 983"/>
                    <a:gd name="T83" fmla="*/ 572 h 816"/>
                    <a:gd name="T84" fmla="*/ 939 w 983"/>
                    <a:gd name="T85" fmla="*/ 668 h 816"/>
                    <a:gd name="T86" fmla="*/ 977 w 983"/>
                    <a:gd name="T87" fmla="*/ 647 h 816"/>
                    <a:gd name="T88" fmla="*/ 612 w 983"/>
                    <a:gd name="T89" fmla="*/ 673 h 816"/>
                    <a:gd name="T90" fmla="*/ 547 w 983"/>
                    <a:gd name="T91" fmla="*/ 696 h 816"/>
                    <a:gd name="T92" fmla="*/ 484 w 983"/>
                    <a:gd name="T93" fmla="*/ 697 h 816"/>
                    <a:gd name="T94" fmla="*/ 418 w 983"/>
                    <a:gd name="T95" fmla="*/ 673 h 816"/>
                    <a:gd name="T96" fmla="*/ 468 w 983"/>
                    <a:gd name="T97" fmla="*/ 507 h 816"/>
                    <a:gd name="T98" fmla="*/ 532 w 983"/>
                    <a:gd name="T99" fmla="*/ 489 h 816"/>
                    <a:gd name="T100" fmla="*/ 609 w 983"/>
                    <a:gd name="T101" fmla="*/ 665 h 816"/>
                    <a:gd name="T102" fmla="*/ 569 w 983"/>
                    <a:gd name="T103" fmla="*/ 423 h 816"/>
                    <a:gd name="T104" fmla="*/ 489 w 983"/>
                    <a:gd name="T105" fmla="*/ 445 h 816"/>
                    <a:gd name="T106" fmla="*/ 390 w 983"/>
                    <a:gd name="T107" fmla="*/ 341 h 816"/>
                    <a:gd name="T108" fmla="*/ 636 w 983"/>
                    <a:gd name="T109" fmla="*/ 343 h 816"/>
                    <a:gd name="T110" fmla="*/ 703 w 983"/>
                    <a:gd name="T111" fmla="*/ 290 h 816"/>
                    <a:gd name="T112" fmla="*/ 639 w 983"/>
                    <a:gd name="T113" fmla="*/ 297 h 816"/>
                    <a:gd name="T114" fmla="*/ 344 w 983"/>
                    <a:gd name="T115" fmla="*/ 279 h 816"/>
                    <a:gd name="T116" fmla="*/ 109 w 983"/>
                    <a:gd name="T117" fmla="*/ 251 h 816"/>
                    <a:gd name="T118" fmla="*/ 848 w 983"/>
                    <a:gd name="T119" fmla="*/ 246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83" h="816">
                      <a:moveTo>
                        <a:pt x="977" y="647"/>
                      </a:moveTo>
                      <a:cubicBezTo>
                        <a:pt x="958" y="612"/>
                        <a:pt x="957" y="586"/>
                        <a:pt x="958" y="576"/>
                      </a:cubicBezTo>
                      <a:cubicBezTo>
                        <a:pt x="960" y="552"/>
                        <a:pt x="960" y="528"/>
                        <a:pt x="960" y="505"/>
                      </a:cubicBezTo>
                      <a:cubicBezTo>
                        <a:pt x="960" y="499"/>
                        <a:pt x="960" y="493"/>
                        <a:pt x="960" y="487"/>
                      </a:cubicBezTo>
                      <a:cubicBezTo>
                        <a:pt x="960" y="214"/>
                        <a:pt x="749" y="0"/>
                        <a:pt x="481" y="0"/>
                      </a:cubicBezTo>
                      <a:cubicBezTo>
                        <a:pt x="350" y="0"/>
                        <a:pt x="229" y="50"/>
                        <a:pt x="139" y="142"/>
                      </a:cubicBezTo>
                      <a:cubicBezTo>
                        <a:pt x="49" y="234"/>
                        <a:pt x="0" y="356"/>
                        <a:pt x="0" y="487"/>
                      </a:cubicBezTo>
                      <a:cubicBezTo>
                        <a:pt x="0" y="489"/>
                        <a:pt x="2" y="657"/>
                        <a:pt x="31" y="692"/>
                      </a:cubicBezTo>
                      <a:cubicBezTo>
                        <a:pt x="33" y="694"/>
                        <a:pt x="35" y="696"/>
                        <a:pt x="37" y="697"/>
                      </a:cubicBezTo>
                      <a:cubicBezTo>
                        <a:pt x="41" y="699"/>
                        <a:pt x="45" y="700"/>
                        <a:pt x="48" y="700"/>
                      </a:cubicBezTo>
                      <a:cubicBezTo>
                        <a:pt x="49" y="700"/>
                        <a:pt x="49" y="700"/>
                        <a:pt x="50" y="700"/>
                      </a:cubicBezTo>
                      <a:cubicBezTo>
                        <a:pt x="54" y="699"/>
                        <a:pt x="59" y="698"/>
                        <a:pt x="62" y="695"/>
                      </a:cubicBezTo>
                      <a:cubicBezTo>
                        <a:pt x="68" y="690"/>
                        <a:pt x="70" y="684"/>
                        <a:pt x="70" y="677"/>
                      </a:cubicBezTo>
                      <a:cubicBezTo>
                        <a:pt x="70" y="672"/>
                        <a:pt x="68" y="668"/>
                        <a:pt x="65" y="664"/>
                      </a:cubicBezTo>
                      <a:cubicBezTo>
                        <a:pt x="55" y="650"/>
                        <a:pt x="44" y="555"/>
                        <a:pt x="44" y="487"/>
                      </a:cubicBezTo>
                      <a:cubicBezTo>
                        <a:pt x="44" y="416"/>
                        <a:pt x="60" y="350"/>
                        <a:pt x="87" y="291"/>
                      </a:cubicBezTo>
                      <a:cubicBezTo>
                        <a:pt x="299" y="333"/>
                        <a:pt x="299" y="333"/>
                        <a:pt x="299" y="333"/>
                      </a:cubicBezTo>
                      <a:cubicBezTo>
                        <a:pt x="212" y="414"/>
                        <a:pt x="212" y="414"/>
                        <a:pt x="212" y="414"/>
                      </a:cubicBezTo>
                      <a:cubicBezTo>
                        <a:pt x="207" y="413"/>
                        <a:pt x="203" y="412"/>
                        <a:pt x="198" y="412"/>
                      </a:cubicBezTo>
                      <a:cubicBezTo>
                        <a:pt x="174" y="412"/>
                        <a:pt x="155" y="431"/>
                        <a:pt x="155" y="455"/>
                      </a:cubicBezTo>
                      <a:cubicBezTo>
                        <a:pt x="155" y="479"/>
                        <a:pt x="174" y="499"/>
                        <a:pt x="198" y="499"/>
                      </a:cubicBezTo>
                      <a:cubicBezTo>
                        <a:pt x="222" y="499"/>
                        <a:pt x="242" y="479"/>
                        <a:pt x="242" y="455"/>
                      </a:cubicBezTo>
                      <a:cubicBezTo>
                        <a:pt x="242" y="452"/>
                        <a:pt x="242" y="449"/>
                        <a:pt x="241" y="447"/>
                      </a:cubicBezTo>
                      <a:cubicBezTo>
                        <a:pt x="330" y="364"/>
                        <a:pt x="330" y="364"/>
                        <a:pt x="330" y="364"/>
                      </a:cubicBezTo>
                      <a:cubicBezTo>
                        <a:pt x="335" y="365"/>
                        <a:pt x="339" y="366"/>
                        <a:pt x="344" y="366"/>
                      </a:cubicBezTo>
                      <a:cubicBezTo>
                        <a:pt x="347" y="366"/>
                        <a:pt x="350" y="366"/>
                        <a:pt x="353" y="365"/>
                      </a:cubicBezTo>
                      <a:cubicBezTo>
                        <a:pt x="413" y="445"/>
                        <a:pt x="413" y="445"/>
                        <a:pt x="413" y="445"/>
                      </a:cubicBezTo>
                      <a:cubicBezTo>
                        <a:pt x="410" y="451"/>
                        <a:pt x="408" y="459"/>
                        <a:pt x="408" y="467"/>
                      </a:cubicBezTo>
                      <a:cubicBezTo>
                        <a:pt x="408" y="481"/>
                        <a:pt x="414" y="493"/>
                        <a:pt x="424" y="501"/>
                      </a:cubicBezTo>
                      <a:cubicBezTo>
                        <a:pt x="376" y="659"/>
                        <a:pt x="376" y="659"/>
                        <a:pt x="376" y="659"/>
                      </a:cubicBezTo>
                      <a:cubicBezTo>
                        <a:pt x="368" y="661"/>
                        <a:pt x="361" y="665"/>
                        <a:pt x="355" y="671"/>
                      </a:cubicBezTo>
                      <a:cubicBezTo>
                        <a:pt x="353" y="673"/>
                        <a:pt x="350" y="676"/>
                        <a:pt x="349" y="679"/>
                      </a:cubicBezTo>
                      <a:cubicBezTo>
                        <a:pt x="184" y="689"/>
                        <a:pt x="184" y="689"/>
                        <a:pt x="184" y="689"/>
                      </a:cubicBezTo>
                      <a:cubicBezTo>
                        <a:pt x="181" y="683"/>
                        <a:pt x="176" y="679"/>
                        <a:pt x="170" y="675"/>
                      </a:cubicBezTo>
                      <a:cubicBezTo>
                        <a:pt x="164" y="671"/>
                        <a:pt x="156" y="668"/>
                        <a:pt x="147" y="668"/>
                      </a:cubicBezTo>
                      <a:cubicBezTo>
                        <a:pt x="138" y="668"/>
                        <a:pt x="129" y="671"/>
                        <a:pt x="122" y="676"/>
                      </a:cubicBezTo>
                      <a:cubicBezTo>
                        <a:pt x="113" y="683"/>
                        <a:pt x="106" y="694"/>
                        <a:pt x="104" y="706"/>
                      </a:cubicBezTo>
                      <a:cubicBezTo>
                        <a:pt x="104" y="708"/>
                        <a:pt x="104" y="710"/>
                        <a:pt x="104" y="712"/>
                      </a:cubicBezTo>
                      <a:cubicBezTo>
                        <a:pt x="104" y="726"/>
                        <a:pt x="110" y="738"/>
                        <a:pt x="121" y="746"/>
                      </a:cubicBezTo>
                      <a:cubicBezTo>
                        <a:pt x="128" y="752"/>
                        <a:pt x="137" y="755"/>
                        <a:pt x="147" y="755"/>
                      </a:cubicBezTo>
                      <a:cubicBezTo>
                        <a:pt x="164" y="755"/>
                        <a:pt x="178" y="746"/>
                        <a:pt x="185" y="733"/>
                      </a:cubicBezTo>
                      <a:cubicBezTo>
                        <a:pt x="348" y="723"/>
                        <a:pt x="348" y="723"/>
                        <a:pt x="348" y="723"/>
                      </a:cubicBezTo>
                      <a:cubicBezTo>
                        <a:pt x="354" y="734"/>
                        <a:pt x="365" y="743"/>
                        <a:pt x="378" y="745"/>
                      </a:cubicBezTo>
                      <a:cubicBezTo>
                        <a:pt x="417" y="816"/>
                        <a:pt x="417" y="816"/>
                        <a:pt x="417" y="816"/>
                      </a:cubicBezTo>
                      <a:cubicBezTo>
                        <a:pt x="468" y="816"/>
                        <a:pt x="468" y="816"/>
                        <a:pt x="468" y="816"/>
                      </a:cubicBezTo>
                      <a:cubicBezTo>
                        <a:pt x="420" y="729"/>
                        <a:pt x="420" y="729"/>
                        <a:pt x="420" y="729"/>
                      </a:cubicBezTo>
                      <a:cubicBezTo>
                        <a:pt x="420" y="729"/>
                        <a:pt x="420" y="728"/>
                        <a:pt x="420" y="728"/>
                      </a:cubicBezTo>
                      <a:cubicBezTo>
                        <a:pt x="474" y="740"/>
                        <a:pt x="474" y="740"/>
                        <a:pt x="474" y="740"/>
                      </a:cubicBezTo>
                      <a:cubicBezTo>
                        <a:pt x="480" y="758"/>
                        <a:pt x="496" y="771"/>
                        <a:pt x="516" y="771"/>
                      </a:cubicBezTo>
                      <a:cubicBezTo>
                        <a:pt x="536" y="771"/>
                        <a:pt x="553" y="757"/>
                        <a:pt x="558" y="739"/>
                      </a:cubicBezTo>
                      <a:cubicBezTo>
                        <a:pt x="610" y="728"/>
                        <a:pt x="610" y="728"/>
                        <a:pt x="610" y="728"/>
                      </a:cubicBezTo>
                      <a:cubicBezTo>
                        <a:pt x="612" y="731"/>
                        <a:pt x="614" y="733"/>
                        <a:pt x="617" y="735"/>
                      </a:cubicBezTo>
                      <a:cubicBezTo>
                        <a:pt x="577" y="816"/>
                        <a:pt x="577" y="816"/>
                        <a:pt x="577" y="816"/>
                      </a:cubicBezTo>
                      <a:cubicBezTo>
                        <a:pt x="626" y="816"/>
                        <a:pt x="626" y="816"/>
                        <a:pt x="626" y="816"/>
                      </a:cubicBezTo>
                      <a:cubicBezTo>
                        <a:pt x="663" y="741"/>
                        <a:pt x="663" y="741"/>
                        <a:pt x="663" y="741"/>
                      </a:cubicBezTo>
                      <a:cubicBezTo>
                        <a:pt x="671" y="738"/>
                        <a:pt x="677" y="732"/>
                        <a:pt x="682" y="725"/>
                      </a:cubicBezTo>
                      <a:cubicBezTo>
                        <a:pt x="812" y="738"/>
                        <a:pt x="812" y="738"/>
                        <a:pt x="812" y="738"/>
                      </a:cubicBezTo>
                      <a:cubicBezTo>
                        <a:pt x="818" y="754"/>
                        <a:pt x="834" y="765"/>
                        <a:pt x="852" y="765"/>
                      </a:cubicBezTo>
                      <a:cubicBezTo>
                        <a:pt x="858" y="765"/>
                        <a:pt x="863" y="764"/>
                        <a:pt x="868" y="762"/>
                      </a:cubicBezTo>
                      <a:cubicBezTo>
                        <a:pt x="884" y="755"/>
                        <a:pt x="896" y="740"/>
                        <a:pt x="896" y="721"/>
                      </a:cubicBezTo>
                      <a:cubicBezTo>
                        <a:pt x="896" y="717"/>
                        <a:pt x="895" y="713"/>
                        <a:pt x="894" y="709"/>
                      </a:cubicBezTo>
                      <a:cubicBezTo>
                        <a:pt x="889" y="691"/>
                        <a:pt x="872" y="678"/>
                        <a:pt x="852" y="678"/>
                      </a:cubicBezTo>
                      <a:cubicBezTo>
                        <a:pt x="838" y="678"/>
                        <a:pt x="826" y="684"/>
                        <a:pt x="818" y="694"/>
                      </a:cubicBezTo>
                      <a:cubicBezTo>
                        <a:pt x="683" y="680"/>
                        <a:pt x="683" y="680"/>
                        <a:pt x="683" y="680"/>
                      </a:cubicBezTo>
                      <a:cubicBezTo>
                        <a:pt x="679" y="674"/>
                        <a:pt x="673" y="668"/>
                        <a:pt x="666" y="664"/>
                      </a:cubicBezTo>
                      <a:cubicBezTo>
                        <a:pt x="662" y="662"/>
                        <a:pt x="658" y="660"/>
                        <a:pt x="654" y="659"/>
                      </a:cubicBezTo>
                      <a:cubicBezTo>
                        <a:pt x="598" y="499"/>
                        <a:pt x="598" y="499"/>
                        <a:pt x="598" y="499"/>
                      </a:cubicBezTo>
                      <a:cubicBezTo>
                        <a:pt x="607" y="491"/>
                        <a:pt x="613" y="480"/>
                        <a:pt x="613" y="467"/>
                      </a:cubicBezTo>
                      <a:cubicBezTo>
                        <a:pt x="613" y="459"/>
                        <a:pt x="611" y="453"/>
                        <a:pt x="608" y="447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82" y="366"/>
                        <a:pt x="689" y="364"/>
                        <a:pt x="695" y="361"/>
                      </a:cubicBezTo>
                      <a:cubicBezTo>
                        <a:pt x="766" y="427"/>
                        <a:pt x="766" y="427"/>
                        <a:pt x="766" y="427"/>
                      </a:cubicBezTo>
                      <a:cubicBezTo>
                        <a:pt x="765" y="430"/>
                        <a:pt x="765" y="433"/>
                        <a:pt x="765" y="437"/>
                      </a:cubicBezTo>
                      <a:cubicBezTo>
                        <a:pt x="765" y="461"/>
                        <a:pt x="785" y="480"/>
                        <a:pt x="809" y="480"/>
                      </a:cubicBezTo>
                      <a:cubicBezTo>
                        <a:pt x="833" y="480"/>
                        <a:pt x="852" y="461"/>
                        <a:pt x="852" y="437"/>
                      </a:cubicBezTo>
                      <a:cubicBezTo>
                        <a:pt x="852" y="413"/>
                        <a:pt x="833" y="393"/>
                        <a:pt x="809" y="393"/>
                      </a:cubicBezTo>
                      <a:cubicBezTo>
                        <a:pt x="804" y="393"/>
                        <a:pt x="800" y="394"/>
                        <a:pt x="796" y="395"/>
                      </a:cubicBezTo>
                      <a:cubicBezTo>
                        <a:pt x="726" y="329"/>
                        <a:pt x="726" y="329"/>
                        <a:pt x="726" y="329"/>
                      </a:cubicBezTo>
                      <a:cubicBezTo>
                        <a:pt x="870" y="286"/>
                        <a:pt x="870" y="286"/>
                        <a:pt x="870" y="286"/>
                      </a:cubicBezTo>
                      <a:cubicBezTo>
                        <a:pt x="899" y="346"/>
                        <a:pt x="916" y="414"/>
                        <a:pt x="916" y="487"/>
                      </a:cubicBezTo>
                      <a:cubicBezTo>
                        <a:pt x="916" y="493"/>
                        <a:pt x="916" y="499"/>
                        <a:pt x="916" y="505"/>
                      </a:cubicBezTo>
                      <a:cubicBezTo>
                        <a:pt x="916" y="528"/>
                        <a:pt x="916" y="550"/>
                        <a:pt x="914" y="572"/>
                      </a:cubicBezTo>
                      <a:cubicBezTo>
                        <a:pt x="914" y="572"/>
                        <a:pt x="914" y="572"/>
                        <a:pt x="914" y="572"/>
                      </a:cubicBezTo>
                      <a:cubicBezTo>
                        <a:pt x="912" y="598"/>
                        <a:pt x="919" y="629"/>
                        <a:pt x="933" y="658"/>
                      </a:cubicBezTo>
                      <a:cubicBezTo>
                        <a:pt x="935" y="661"/>
                        <a:pt x="937" y="665"/>
                        <a:pt x="939" y="668"/>
                      </a:cubicBezTo>
                      <a:cubicBezTo>
                        <a:pt x="945" y="679"/>
                        <a:pt x="958" y="683"/>
                        <a:pt x="969" y="677"/>
                      </a:cubicBezTo>
                      <a:cubicBezTo>
                        <a:pt x="979" y="671"/>
                        <a:pt x="983" y="657"/>
                        <a:pt x="977" y="647"/>
                      </a:cubicBezTo>
                      <a:close/>
                      <a:moveTo>
                        <a:pt x="609" y="665"/>
                      </a:moveTo>
                      <a:cubicBezTo>
                        <a:pt x="612" y="673"/>
                        <a:pt x="612" y="673"/>
                        <a:pt x="612" y="673"/>
                      </a:cubicBezTo>
                      <a:cubicBezTo>
                        <a:pt x="609" y="677"/>
                        <a:pt x="607" y="680"/>
                        <a:pt x="605" y="684"/>
                      </a:cubicBezTo>
                      <a:cubicBezTo>
                        <a:pt x="547" y="696"/>
                        <a:pt x="547" y="696"/>
                        <a:pt x="547" y="696"/>
                      </a:cubicBezTo>
                      <a:cubicBezTo>
                        <a:pt x="539" y="688"/>
                        <a:pt x="528" y="684"/>
                        <a:pt x="516" y="684"/>
                      </a:cubicBezTo>
                      <a:cubicBezTo>
                        <a:pt x="503" y="684"/>
                        <a:pt x="492" y="689"/>
                        <a:pt x="484" y="697"/>
                      </a:cubicBezTo>
                      <a:cubicBezTo>
                        <a:pt x="425" y="684"/>
                        <a:pt x="425" y="684"/>
                        <a:pt x="425" y="684"/>
                      </a:cubicBezTo>
                      <a:cubicBezTo>
                        <a:pt x="424" y="680"/>
                        <a:pt x="421" y="676"/>
                        <a:pt x="418" y="673"/>
                      </a:cubicBezTo>
                      <a:cubicBezTo>
                        <a:pt x="419" y="669"/>
                        <a:pt x="419" y="669"/>
                        <a:pt x="419" y="669"/>
                      </a:cubicBezTo>
                      <a:cubicBezTo>
                        <a:pt x="468" y="507"/>
                        <a:pt x="468" y="507"/>
                        <a:pt x="468" y="507"/>
                      </a:cubicBezTo>
                      <a:cubicBezTo>
                        <a:pt x="477" y="503"/>
                        <a:pt x="484" y="497"/>
                        <a:pt x="489" y="489"/>
                      </a:cubicBezTo>
                      <a:cubicBezTo>
                        <a:pt x="532" y="489"/>
                        <a:pt x="532" y="489"/>
                        <a:pt x="532" y="489"/>
                      </a:cubicBezTo>
                      <a:cubicBezTo>
                        <a:pt x="537" y="497"/>
                        <a:pt x="545" y="504"/>
                        <a:pt x="554" y="507"/>
                      </a:cubicBezTo>
                      <a:lnTo>
                        <a:pt x="609" y="665"/>
                      </a:lnTo>
                      <a:close/>
                      <a:moveTo>
                        <a:pt x="570" y="423"/>
                      </a:moveTo>
                      <a:cubicBezTo>
                        <a:pt x="570" y="423"/>
                        <a:pt x="570" y="423"/>
                        <a:pt x="569" y="423"/>
                      </a:cubicBezTo>
                      <a:cubicBezTo>
                        <a:pt x="553" y="423"/>
                        <a:pt x="539" y="432"/>
                        <a:pt x="532" y="445"/>
                      </a:cubicBezTo>
                      <a:cubicBezTo>
                        <a:pt x="489" y="445"/>
                        <a:pt x="489" y="445"/>
                        <a:pt x="489" y="445"/>
                      </a:cubicBezTo>
                      <a:cubicBezTo>
                        <a:pt x="481" y="432"/>
                        <a:pt x="468" y="424"/>
                        <a:pt x="452" y="423"/>
                      </a:cubicBezTo>
                      <a:cubicBezTo>
                        <a:pt x="390" y="341"/>
                        <a:pt x="390" y="341"/>
                        <a:pt x="390" y="341"/>
                      </a:cubicBezTo>
                      <a:cubicBezTo>
                        <a:pt x="635" y="341"/>
                        <a:pt x="635" y="341"/>
                        <a:pt x="635" y="341"/>
                      </a:cubicBezTo>
                      <a:cubicBezTo>
                        <a:pt x="635" y="342"/>
                        <a:pt x="636" y="342"/>
                        <a:pt x="636" y="343"/>
                      </a:cubicBezTo>
                      <a:lnTo>
                        <a:pt x="570" y="423"/>
                      </a:lnTo>
                      <a:close/>
                      <a:moveTo>
                        <a:pt x="703" y="290"/>
                      </a:moveTo>
                      <a:cubicBezTo>
                        <a:pt x="696" y="283"/>
                        <a:pt x="686" y="279"/>
                        <a:pt x="674" y="279"/>
                      </a:cubicBezTo>
                      <a:cubicBezTo>
                        <a:pt x="660" y="279"/>
                        <a:pt x="647" y="286"/>
                        <a:pt x="639" y="297"/>
                      </a:cubicBezTo>
                      <a:cubicBezTo>
                        <a:pt x="380" y="297"/>
                        <a:pt x="380" y="297"/>
                        <a:pt x="380" y="297"/>
                      </a:cubicBezTo>
                      <a:cubicBezTo>
                        <a:pt x="372" y="286"/>
                        <a:pt x="359" y="279"/>
                        <a:pt x="344" y="279"/>
                      </a:cubicBezTo>
                      <a:cubicBezTo>
                        <a:pt x="333" y="279"/>
                        <a:pt x="322" y="284"/>
                        <a:pt x="315" y="291"/>
                      </a:cubicBezTo>
                      <a:cubicBezTo>
                        <a:pt x="109" y="251"/>
                        <a:pt x="109" y="251"/>
                        <a:pt x="109" y="251"/>
                      </a:cubicBezTo>
                      <a:cubicBezTo>
                        <a:pt x="186" y="125"/>
                        <a:pt x="322" y="44"/>
                        <a:pt x="481" y="44"/>
                      </a:cubicBezTo>
                      <a:cubicBezTo>
                        <a:pt x="637" y="44"/>
                        <a:pt x="772" y="124"/>
                        <a:pt x="848" y="246"/>
                      </a:cubicBezTo>
                      <a:lnTo>
                        <a:pt x="703" y="2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6">
                  <a:extLst>
                    <a:ext uri="{FF2B5EF4-FFF2-40B4-BE49-F238E27FC236}">
                      <a16:creationId xmlns:a16="http://schemas.microsoft.com/office/drawing/2014/main" id="{7A590CA1-ACC2-44C4-A69F-7631C17AB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687" y="2738438"/>
                  <a:ext cx="1443038" cy="1377949"/>
                </a:xfrm>
                <a:custGeom>
                  <a:avLst/>
                  <a:gdLst>
                    <a:gd name="connsiteX0" fmla="*/ 1427273 w 1443038"/>
                    <a:gd name="connsiteY0" fmla="*/ 1274762 h 1377949"/>
                    <a:gd name="connsiteX1" fmla="*/ 1443038 w 1443038"/>
                    <a:gd name="connsiteY1" fmla="*/ 1290527 h 1377949"/>
                    <a:gd name="connsiteX2" fmla="*/ 1443038 w 1443038"/>
                    <a:gd name="connsiteY2" fmla="*/ 1362184 h 1377949"/>
                    <a:gd name="connsiteX3" fmla="*/ 1427273 w 1443038"/>
                    <a:gd name="connsiteY3" fmla="*/ 1377949 h 1377949"/>
                    <a:gd name="connsiteX4" fmla="*/ 1355615 w 1443038"/>
                    <a:gd name="connsiteY4" fmla="*/ 1377949 h 1377949"/>
                    <a:gd name="connsiteX5" fmla="*/ 1339850 w 1443038"/>
                    <a:gd name="connsiteY5" fmla="*/ 1362184 h 1377949"/>
                    <a:gd name="connsiteX6" fmla="*/ 1355615 w 1443038"/>
                    <a:gd name="connsiteY6" fmla="*/ 1346420 h 1377949"/>
                    <a:gd name="connsiteX7" fmla="*/ 1411509 w 1443038"/>
                    <a:gd name="connsiteY7" fmla="*/ 1346420 h 1377949"/>
                    <a:gd name="connsiteX8" fmla="*/ 1411509 w 1443038"/>
                    <a:gd name="connsiteY8" fmla="*/ 1290527 h 1377949"/>
                    <a:gd name="connsiteX9" fmla="*/ 1427273 w 1443038"/>
                    <a:gd name="connsiteY9" fmla="*/ 1274762 h 1377949"/>
                    <a:gd name="connsiteX10" fmla="*/ 15765 w 1443038"/>
                    <a:gd name="connsiteY10" fmla="*/ 1274762 h 1377949"/>
                    <a:gd name="connsiteX11" fmla="*/ 31529 w 1443038"/>
                    <a:gd name="connsiteY11" fmla="*/ 1290527 h 1377949"/>
                    <a:gd name="connsiteX12" fmla="*/ 31529 w 1443038"/>
                    <a:gd name="connsiteY12" fmla="*/ 1346420 h 1377949"/>
                    <a:gd name="connsiteX13" fmla="*/ 87423 w 1443038"/>
                    <a:gd name="connsiteY13" fmla="*/ 1346420 h 1377949"/>
                    <a:gd name="connsiteX14" fmla="*/ 103188 w 1443038"/>
                    <a:gd name="connsiteY14" fmla="*/ 1362184 h 1377949"/>
                    <a:gd name="connsiteX15" fmla="*/ 87423 w 1443038"/>
                    <a:gd name="connsiteY15" fmla="*/ 1377949 h 1377949"/>
                    <a:gd name="connsiteX16" fmla="*/ 15765 w 1443038"/>
                    <a:gd name="connsiteY16" fmla="*/ 1377949 h 1377949"/>
                    <a:gd name="connsiteX17" fmla="*/ 0 w 1443038"/>
                    <a:gd name="connsiteY17" fmla="*/ 1362184 h 1377949"/>
                    <a:gd name="connsiteX18" fmla="*/ 0 w 1443038"/>
                    <a:gd name="connsiteY18" fmla="*/ 1290527 h 1377949"/>
                    <a:gd name="connsiteX19" fmla="*/ 15765 w 1443038"/>
                    <a:gd name="connsiteY19" fmla="*/ 1274762 h 1377949"/>
                    <a:gd name="connsiteX20" fmla="*/ 502474 w 1443038"/>
                    <a:gd name="connsiteY20" fmla="*/ 969962 h 1377949"/>
                    <a:gd name="connsiteX21" fmla="*/ 513894 w 1443038"/>
                    <a:gd name="connsiteY21" fmla="*/ 969962 h 1377949"/>
                    <a:gd name="connsiteX22" fmla="*/ 533880 w 1443038"/>
                    <a:gd name="connsiteY22" fmla="*/ 986406 h 1377949"/>
                    <a:gd name="connsiteX23" fmla="*/ 544586 w 1443038"/>
                    <a:gd name="connsiteY23" fmla="*/ 994985 h 1377949"/>
                    <a:gd name="connsiteX24" fmla="*/ 718030 w 1443038"/>
                    <a:gd name="connsiteY24" fmla="*/ 1137261 h 1377949"/>
                    <a:gd name="connsiteX25" fmla="*/ 726595 w 1443038"/>
                    <a:gd name="connsiteY25" fmla="*/ 1136546 h 1377949"/>
                    <a:gd name="connsiteX26" fmla="*/ 900038 w 1443038"/>
                    <a:gd name="connsiteY26" fmla="*/ 994985 h 1377949"/>
                    <a:gd name="connsiteX27" fmla="*/ 910745 w 1443038"/>
                    <a:gd name="connsiteY27" fmla="*/ 986406 h 1377949"/>
                    <a:gd name="connsiteX28" fmla="*/ 930730 w 1443038"/>
                    <a:gd name="connsiteY28" fmla="*/ 969962 h 1377949"/>
                    <a:gd name="connsiteX29" fmla="*/ 942150 w 1443038"/>
                    <a:gd name="connsiteY29" fmla="*/ 969962 h 1377949"/>
                    <a:gd name="connsiteX30" fmla="*/ 1207669 w 1443038"/>
                    <a:gd name="connsiteY30" fmla="*/ 1017149 h 1377949"/>
                    <a:gd name="connsiteX31" fmla="*/ 1363268 w 1443038"/>
                    <a:gd name="connsiteY31" fmla="*/ 1243789 h 1377949"/>
                    <a:gd name="connsiteX32" fmla="*/ 1348279 w 1443038"/>
                    <a:gd name="connsiteY32" fmla="*/ 1265237 h 1377949"/>
                    <a:gd name="connsiteX33" fmla="*/ 96345 w 1443038"/>
                    <a:gd name="connsiteY33" fmla="*/ 1265237 h 1377949"/>
                    <a:gd name="connsiteX34" fmla="*/ 81356 w 1443038"/>
                    <a:gd name="connsiteY34" fmla="*/ 1243789 h 1377949"/>
                    <a:gd name="connsiteX35" fmla="*/ 236956 w 1443038"/>
                    <a:gd name="connsiteY35" fmla="*/ 1017149 h 1377949"/>
                    <a:gd name="connsiteX36" fmla="*/ 502474 w 1443038"/>
                    <a:gd name="connsiteY36" fmla="*/ 969962 h 1377949"/>
                    <a:gd name="connsiteX37" fmla="*/ 461962 w 1443038"/>
                    <a:gd name="connsiteY37" fmla="*/ 736600 h 1377949"/>
                    <a:gd name="connsiteX38" fmla="*/ 496284 w 1443038"/>
                    <a:gd name="connsiteY38" fmla="*/ 736600 h 1377949"/>
                    <a:gd name="connsiteX39" fmla="*/ 559922 w 1443038"/>
                    <a:gd name="connsiteY39" fmla="*/ 858347 h 1377949"/>
                    <a:gd name="connsiteX40" fmla="*/ 567072 w 1443038"/>
                    <a:gd name="connsiteY40" fmla="*/ 864043 h 1377949"/>
                    <a:gd name="connsiteX41" fmla="*/ 595673 w 1443038"/>
                    <a:gd name="connsiteY41" fmla="*/ 885402 h 1377949"/>
                    <a:gd name="connsiteX42" fmla="*/ 721519 w 1443038"/>
                    <a:gd name="connsiteY42" fmla="*/ 938800 h 1377949"/>
                    <a:gd name="connsiteX43" fmla="*/ 847364 w 1443038"/>
                    <a:gd name="connsiteY43" fmla="*/ 885402 h 1377949"/>
                    <a:gd name="connsiteX44" fmla="*/ 875966 w 1443038"/>
                    <a:gd name="connsiteY44" fmla="*/ 864043 h 1377949"/>
                    <a:gd name="connsiteX45" fmla="*/ 883116 w 1443038"/>
                    <a:gd name="connsiteY45" fmla="*/ 858347 h 1377949"/>
                    <a:gd name="connsiteX46" fmla="*/ 946754 w 1443038"/>
                    <a:gd name="connsiteY46" fmla="*/ 736600 h 1377949"/>
                    <a:gd name="connsiteX47" fmla="*/ 981075 w 1443038"/>
                    <a:gd name="connsiteY47" fmla="*/ 736600 h 1377949"/>
                    <a:gd name="connsiteX48" fmla="*/ 918152 w 1443038"/>
                    <a:gd name="connsiteY48" fmla="*/ 864043 h 1377949"/>
                    <a:gd name="connsiteX49" fmla="*/ 910287 w 1443038"/>
                    <a:gd name="connsiteY49" fmla="*/ 874722 h 1377949"/>
                    <a:gd name="connsiteX50" fmla="*/ 910287 w 1443038"/>
                    <a:gd name="connsiteY50" fmla="*/ 916728 h 1377949"/>
                    <a:gd name="connsiteX51" fmla="*/ 910287 w 1443038"/>
                    <a:gd name="connsiteY51" fmla="*/ 945919 h 1377949"/>
                    <a:gd name="connsiteX52" fmla="*/ 878826 w 1443038"/>
                    <a:gd name="connsiteY52" fmla="*/ 971550 h 1377949"/>
                    <a:gd name="connsiteX53" fmla="*/ 878826 w 1443038"/>
                    <a:gd name="connsiteY53" fmla="*/ 939511 h 1377949"/>
                    <a:gd name="connsiteX54" fmla="*/ 878826 w 1443038"/>
                    <a:gd name="connsiteY54" fmla="*/ 901065 h 1377949"/>
                    <a:gd name="connsiteX55" fmla="*/ 847364 w 1443038"/>
                    <a:gd name="connsiteY55" fmla="*/ 922424 h 1377949"/>
                    <a:gd name="connsiteX56" fmla="*/ 721519 w 1443038"/>
                    <a:gd name="connsiteY56" fmla="*/ 970126 h 1377949"/>
                    <a:gd name="connsiteX57" fmla="*/ 595673 w 1443038"/>
                    <a:gd name="connsiteY57" fmla="*/ 922424 h 1377949"/>
                    <a:gd name="connsiteX58" fmla="*/ 564212 w 1443038"/>
                    <a:gd name="connsiteY58" fmla="*/ 901065 h 1377949"/>
                    <a:gd name="connsiteX59" fmla="*/ 564212 w 1443038"/>
                    <a:gd name="connsiteY59" fmla="*/ 939511 h 1377949"/>
                    <a:gd name="connsiteX60" fmla="*/ 564212 w 1443038"/>
                    <a:gd name="connsiteY60" fmla="*/ 971550 h 1377949"/>
                    <a:gd name="connsiteX61" fmla="*/ 532750 w 1443038"/>
                    <a:gd name="connsiteY61" fmla="*/ 945919 h 1377949"/>
                    <a:gd name="connsiteX62" fmla="*/ 532750 w 1443038"/>
                    <a:gd name="connsiteY62" fmla="*/ 916728 h 1377949"/>
                    <a:gd name="connsiteX63" fmla="*/ 532750 w 1443038"/>
                    <a:gd name="connsiteY63" fmla="*/ 874722 h 1377949"/>
                    <a:gd name="connsiteX64" fmla="*/ 524885 w 1443038"/>
                    <a:gd name="connsiteY64" fmla="*/ 864043 h 1377949"/>
                    <a:gd name="connsiteX65" fmla="*/ 461962 w 1443038"/>
                    <a:gd name="connsiteY65" fmla="*/ 736600 h 1377949"/>
                    <a:gd name="connsiteX66" fmla="*/ 195101 w 1443038"/>
                    <a:gd name="connsiteY66" fmla="*/ 673100 h 1377949"/>
                    <a:gd name="connsiteX67" fmla="*/ 396526 w 1443038"/>
                    <a:gd name="connsiteY67" fmla="*/ 673100 h 1377949"/>
                    <a:gd name="connsiteX68" fmla="*/ 435810 w 1443038"/>
                    <a:gd name="connsiteY68" fmla="*/ 673100 h 1377949"/>
                    <a:gd name="connsiteX69" fmla="*/ 470095 w 1443038"/>
                    <a:gd name="connsiteY69" fmla="*/ 673100 h 1377949"/>
                    <a:gd name="connsiteX70" fmla="*/ 503666 w 1443038"/>
                    <a:gd name="connsiteY70" fmla="*/ 673100 h 1377949"/>
                    <a:gd name="connsiteX71" fmla="*/ 679377 w 1443038"/>
                    <a:gd name="connsiteY71" fmla="*/ 673100 h 1377949"/>
                    <a:gd name="connsiteX72" fmla="*/ 715090 w 1443038"/>
                    <a:gd name="connsiteY72" fmla="*/ 673100 h 1377949"/>
                    <a:gd name="connsiteX73" fmla="*/ 760804 w 1443038"/>
                    <a:gd name="connsiteY73" fmla="*/ 673100 h 1377949"/>
                    <a:gd name="connsiteX74" fmla="*/ 795803 w 1443038"/>
                    <a:gd name="connsiteY74" fmla="*/ 673100 h 1377949"/>
                    <a:gd name="connsiteX75" fmla="*/ 939371 w 1443038"/>
                    <a:gd name="connsiteY75" fmla="*/ 673100 h 1377949"/>
                    <a:gd name="connsiteX76" fmla="*/ 972942 w 1443038"/>
                    <a:gd name="connsiteY76" fmla="*/ 673100 h 1377949"/>
                    <a:gd name="connsiteX77" fmla="*/ 1007227 w 1443038"/>
                    <a:gd name="connsiteY77" fmla="*/ 673100 h 1377949"/>
                    <a:gd name="connsiteX78" fmla="*/ 1046512 w 1443038"/>
                    <a:gd name="connsiteY78" fmla="*/ 673100 h 1377949"/>
                    <a:gd name="connsiteX79" fmla="*/ 1247936 w 1443038"/>
                    <a:gd name="connsiteY79" fmla="*/ 673100 h 1377949"/>
                    <a:gd name="connsiteX80" fmla="*/ 1263650 w 1443038"/>
                    <a:gd name="connsiteY80" fmla="*/ 688975 h 1377949"/>
                    <a:gd name="connsiteX81" fmla="*/ 1247936 w 1443038"/>
                    <a:gd name="connsiteY81" fmla="*/ 704850 h 1377949"/>
                    <a:gd name="connsiteX82" fmla="*/ 1027941 w 1443038"/>
                    <a:gd name="connsiteY82" fmla="*/ 704850 h 1377949"/>
                    <a:gd name="connsiteX83" fmla="*/ 994370 w 1443038"/>
                    <a:gd name="connsiteY83" fmla="*/ 704850 h 1377949"/>
                    <a:gd name="connsiteX84" fmla="*/ 960085 w 1443038"/>
                    <a:gd name="connsiteY84" fmla="*/ 704850 h 1377949"/>
                    <a:gd name="connsiteX85" fmla="*/ 925800 w 1443038"/>
                    <a:gd name="connsiteY85" fmla="*/ 704850 h 1377949"/>
                    <a:gd name="connsiteX86" fmla="*/ 770089 w 1443038"/>
                    <a:gd name="connsiteY86" fmla="*/ 704850 h 1377949"/>
                    <a:gd name="connsiteX87" fmla="*/ 705805 w 1443038"/>
                    <a:gd name="connsiteY87" fmla="*/ 704850 h 1377949"/>
                    <a:gd name="connsiteX88" fmla="*/ 517237 w 1443038"/>
                    <a:gd name="connsiteY88" fmla="*/ 704850 h 1377949"/>
                    <a:gd name="connsiteX89" fmla="*/ 482952 w 1443038"/>
                    <a:gd name="connsiteY89" fmla="*/ 704850 h 1377949"/>
                    <a:gd name="connsiteX90" fmla="*/ 448667 w 1443038"/>
                    <a:gd name="connsiteY90" fmla="*/ 704850 h 1377949"/>
                    <a:gd name="connsiteX91" fmla="*/ 415097 w 1443038"/>
                    <a:gd name="connsiteY91" fmla="*/ 704850 h 1377949"/>
                    <a:gd name="connsiteX92" fmla="*/ 195101 w 1443038"/>
                    <a:gd name="connsiteY92" fmla="*/ 704850 h 1377949"/>
                    <a:gd name="connsiteX93" fmla="*/ 179387 w 1443038"/>
                    <a:gd name="connsiteY93" fmla="*/ 688975 h 1377949"/>
                    <a:gd name="connsiteX94" fmla="*/ 195101 w 1443038"/>
                    <a:gd name="connsiteY94" fmla="*/ 673100 h 1377949"/>
                    <a:gd name="connsiteX95" fmla="*/ 1062037 w 1443038"/>
                    <a:gd name="connsiteY95" fmla="*/ 579437 h 1377949"/>
                    <a:gd name="connsiteX96" fmla="*/ 1062037 w 1443038"/>
                    <a:gd name="connsiteY96" fmla="*/ 581548 h 1377949"/>
                    <a:gd name="connsiteX97" fmla="*/ 1034263 w 1443038"/>
                    <a:gd name="connsiteY97" fmla="*/ 641349 h 1377949"/>
                    <a:gd name="connsiteX98" fmla="*/ 985837 w 1443038"/>
                    <a:gd name="connsiteY98" fmla="*/ 641349 h 1377949"/>
                    <a:gd name="connsiteX99" fmla="*/ 992959 w 1443038"/>
                    <a:gd name="connsiteY99" fmla="*/ 633610 h 1377949"/>
                    <a:gd name="connsiteX100" fmla="*/ 1025718 w 1443038"/>
                    <a:gd name="connsiteY100" fmla="*/ 596322 h 1377949"/>
                    <a:gd name="connsiteX101" fmla="*/ 1062037 w 1443038"/>
                    <a:gd name="connsiteY101" fmla="*/ 579437 h 1377949"/>
                    <a:gd name="connsiteX102" fmla="*/ 381000 w 1443038"/>
                    <a:gd name="connsiteY102" fmla="*/ 579437 h 1377949"/>
                    <a:gd name="connsiteX103" fmla="*/ 417320 w 1443038"/>
                    <a:gd name="connsiteY103" fmla="*/ 596322 h 1377949"/>
                    <a:gd name="connsiteX104" fmla="*/ 450079 w 1443038"/>
                    <a:gd name="connsiteY104" fmla="*/ 633610 h 1377949"/>
                    <a:gd name="connsiteX105" fmla="*/ 457200 w 1443038"/>
                    <a:gd name="connsiteY105" fmla="*/ 641349 h 1377949"/>
                    <a:gd name="connsiteX106" fmla="*/ 408774 w 1443038"/>
                    <a:gd name="connsiteY106" fmla="*/ 641349 h 1377949"/>
                    <a:gd name="connsiteX107" fmla="*/ 381000 w 1443038"/>
                    <a:gd name="connsiteY107" fmla="*/ 582955 h 1377949"/>
                    <a:gd name="connsiteX108" fmla="*/ 381000 w 1443038"/>
                    <a:gd name="connsiteY108" fmla="*/ 579437 h 1377949"/>
                    <a:gd name="connsiteX109" fmla="*/ 1355615 w 1443038"/>
                    <a:gd name="connsiteY109" fmla="*/ 0 h 1377949"/>
                    <a:gd name="connsiteX110" fmla="*/ 1427273 w 1443038"/>
                    <a:gd name="connsiteY110" fmla="*/ 0 h 1377949"/>
                    <a:gd name="connsiteX111" fmla="*/ 1443038 w 1443038"/>
                    <a:gd name="connsiteY111" fmla="*/ 15765 h 1377949"/>
                    <a:gd name="connsiteX112" fmla="*/ 1443038 w 1443038"/>
                    <a:gd name="connsiteY112" fmla="*/ 87422 h 1377949"/>
                    <a:gd name="connsiteX113" fmla="*/ 1427273 w 1443038"/>
                    <a:gd name="connsiteY113" fmla="*/ 103187 h 1377949"/>
                    <a:gd name="connsiteX114" fmla="*/ 1411509 w 1443038"/>
                    <a:gd name="connsiteY114" fmla="*/ 87422 h 1377949"/>
                    <a:gd name="connsiteX115" fmla="*/ 1411509 w 1443038"/>
                    <a:gd name="connsiteY115" fmla="*/ 31529 h 1377949"/>
                    <a:gd name="connsiteX116" fmla="*/ 1355615 w 1443038"/>
                    <a:gd name="connsiteY116" fmla="*/ 31529 h 1377949"/>
                    <a:gd name="connsiteX117" fmla="*/ 1339850 w 1443038"/>
                    <a:gd name="connsiteY117" fmla="*/ 15765 h 1377949"/>
                    <a:gd name="connsiteX118" fmla="*/ 1355615 w 1443038"/>
                    <a:gd name="connsiteY118" fmla="*/ 0 h 1377949"/>
                    <a:gd name="connsiteX119" fmla="*/ 15765 w 1443038"/>
                    <a:gd name="connsiteY119" fmla="*/ 0 h 1377949"/>
                    <a:gd name="connsiteX120" fmla="*/ 87423 w 1443038"/>
                    <a:gd name="connsiteY120" fmla="*/ 0 h 1377949"/>
                    <a:gd name="connsiteX121" fmla="*/ 103188 w 1443038"/>
                    <a:gd name="connsiteY121" fmla="*/ 15765 h 1377949"/>
                    <a:gd name="connsiteX122" fmla="*/ 87423 w 1443038"/>
                    <a:gd name="connsiteY122" fmla="*/ 31529 h 1377949"/>
                    <a:gd name="connsiteX123" fmla="*/ 31529 w 1443038"/>
                    <a:gd name="connsiteY123" fmla="*/ 31529 h 1377949"/>
                    <a:gd name="connsiteX124" fmla="*/ 31529 w 1443038"/>
                    <a:gd name="connsiteY124" fmla="*/ 87422 h 1377949"/>
                    <a:gd name="connsiteX125" fmla="*/ 15765 w 1443038"/>
                    <a:gd name="connsiteY125" fmla="*/ 103187 h 1377949"/>
                    <a:gd name="connsiteX126" fmla="*/ 0 w 1443038"/>
                    <a:gd name="connsiteY126" fmla="*/ 87422 h 1377949"/>
                    <a:gd name="connsiteX127" fmla="*/ 0 w 1443038"/>
                    <a:gd name="connsiteY127" fmla="*/ 15765 h 1377949"/>
                    <a:gd name="connsiteX128" fmla="*/ 15765 w 1443038"/>
                    <a:gd name="connsiteY128" fmla="*/ 0 h 1377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1443038" h="1377949">
                      <a:moveTo>
                        <a:pt x="1427273" y="1274762"/>
                      </a:moveTo>
                      <a:cubicBezTo>
                        <a:pt x="1435872" y="1274762"/>
                        <a:pt x="1443038" y="1281928"/>
                        <a:pt x="1443038" y="1290527"/>
                      </a:cubicBezTo>
                      <a:cubicBezTo>
                        <a:pt x="1443038" y="1290527"/>
                        <a:pt x="1443038" y="1290527"/>
                        <a:pt x="1443038" y="1362184"/>
                      </a:cubicBezTo>
                      <a:cubicBezTo>
                        <a:pt x="1443038" y="1371500"/>
                        <a:pt x="1435872" y="1377949"/>
                        <a:pt x="1427273" y="1377949"/>
                      </a:cubicBezTo>
                      <a:cubicBezTo>
                        <a:pt x="1427273" y="1377949"/>
                        <a:pt x="1427273" y="1377949"/>
                        <a:pt x="1355615" y="1377949"/>
                      </a:cubicBezTo>
                      <a:cubicBezTo>
                        <a:pt x="1347016" y="1377949"/>
                        <a:pt x="1339850" y="1371500"/>
                        <a:pt x="1339850" y="1362184"/>
                      </a:cubicBezTo>
                      <a:cubicBezTo>
                        <a:pt x="1339850" y="1353586"/>
                        <a:pt x="1347016" y="1346420"/>
                        <a:pt x="1355615" y="1346420"/>
                      </a:cubicBezTo>
                      <a:cubicBezTo>
                        <a:pt x="1355615" y="1346420"/>
                        <a:pt x="1355615" y="1346420"/>
                        <a:pt x="1411509" y="1346420"/>
                      </a:cubicBezTo>
                      <a:cubicBezTo>
                        <a:pt x="1411509" y="1346420"/>
                        <a:pt x="1411509" y="1346420"/>
                        <a:pt x="1411509" y="1290527"/>
                      </a:cubicBezTo>
                      <a:cubicBezTo>
                        <a:pt x="1411509" y="1281928"/>
                        <a:pt x="1418674" y="1274762"/>
                        <a:pt x="1427273" y="1274762"/>
                      </a:cubicBezTo>
                      <a:close/>
                      <a:moveTo>
                        <a:pt x="15765" y="1274762"/>
                      </a:moveTo>
                      <a:cubicBezTo>
                        <a:pt x="24364" y="1274762"/>
                        <a:pt x="31529" y="1281928"/>
                        <a:pt x="31529" y="1290527"/>
                      </a:cubicBezTo>
                      <a:cubicBezTo>
                        <a:pt x="31529" y="1290527"/>
                        <a:pt x="31529" y="1290527"/>
                        <a:pt x="31529" y="1346420"/>
                      </a:cubicBezTo>
                      <a:cubicBezTo>
                        <a:pt x="31529" y="1346420"/>
                        <a:pt x="31529" y="1346420"/>
                        <a:pt x="87423" y="1346420"/>
                      </a:cubicBezTo>
                      <a:cubicBezTo>
                        <a:pt x="96022" y="1346420"/>
                        <a:pt x="103188" y="1353586"/>
                        <a:pt x="103188" y="1362184"/>
                      </a:cubicBezTo>
                      <a:cubicBezTo>
                        <a:pt x="103188" y="1371500"/>
                        <a:pt x="96022" y="1377949"/>
                        <a:pt x="87423" y="1377949"/>
                      </a:cubicBezTo>
                      <a:cubicBezTo>
                        <a:pt x="87423" y="1377949"/>
                        <a:pt x="87423" y="1377949"/>
                        <a:pt x="15765" y="1377949"/>
                      </a:cubicBezTo>
                      <a:cubicBezTo>
                        <a:pt x="7166" y="1377949"/>
                        <a:pt x="0" y="1371500"/>
                        <a:pt x="0" y="1362184"/>
                      </a:cubicBezTo>
                      <a:cubicBezTo>
                        <a:pt x="0" y="1362184"/>
                        <a:pt x="0" y="1362184"/>
                        <a:pt x="0" y="1290527"/>
                      </a:cubicBezTo>
                      <a:cubicBezTo>
                        <a:pt x="0" y="1281928"/>
                        <a:pt x="7166" y="1274762"/>
                        <a:pt x="15765" y="1274762"/>
                      </a:cubicBezTo>
                      <a:close/>
                      <a:moveTo>
                        <a:pt x="502474" y="969962"/>
                      </a:moveTo>
                      <a:cubicBezTo>
                        <a:pt x="509612" y="969962"/>
                        <a:pt x="513894" y="969962"/>
                        <a:pt x="513894" y="969962"/>
                      </a:cubicBezTo>
                      <a:cubicBezTo>
                        <a:pt x="513894" y="969962"/>
                        <a:pt x="521032" y="975682"/>
                        <a:pt x="533880" y="986406"/>
                      </a:cubicBezTo>
                      <a:cubicBezTo>
                        <a:pt x="537448" y="989266"/>
                        <a:pt x="541017" y="992126"/>
                        <a:pt x="544586" y="994985"/>
                      </a:cubicBezTo>
                      <a:cubicBezTo>
                        <a:pt x="588839" y="1032163"/>
                        <a:pt x="671635" y="1100083"/>
                        <a:pt x="718030" y="1137261"/>
                      </a:cubicBezTo>
                      <a:cubicBezTo>
                        <a:pt x="720885" y="1138691"/>
                        <a:pt x="724453" y="1138691"/>
                        <a:pt x="726595" y="1136546"/>
                      </a:cubicBezTo>
                      <a:cubicBezTo>
                        <a:pt x="787264" y="1087929"/>
                        <a:pt x="860068" y="1028588"/>
                        <a:pt x="900038" y="994985"/>
                      </a:cubicBezTo>
                      <a:cubicBezTo>
                        <a:pt x="903607" y="992126"/>
                        <a:pt x="907176" y="989266"/>
                        <a:pt x="910745" y="986406"/>
                      </a:cubicBezTo>
                      <a:cubicBezTo>
                        <a:pt x="923592" y="975682"/>
                        <a:pt x="930730" y="969962"/>
                        <a:pt x="930730" y="969962"/>
                      </a:cubicBezTo>
                      <a:cubicBezTo>
                        <a:pt x="930730" y="969962"/>
                        <a:pt x="935013" y="969962"/>
                        <a:pt x="942150" y="969962"/>
                      </a:cubicBezTo>
                      <a:cubicBezTo>
                        <a:pt x="982835" y="971392"/>
                        <a:pt x="1124873" y="978542"/>
                        <a:pt x="1207669" y="1017149"/>
                      </a:cubicBezTo>
                      <a:cubicBezTo>
                        <a:pt x="1286182" y="1052897"/>
                        <a:pt x="1343283" y="1190882"/>
                        <a:pt x="1363268" y="1243789"/>
                      </a:cubicBezTo>
                      <a:cubicBezTo>
                        <a:pt x="1366837" y="1253798"/>
                        <a:pt x="1359700" y="1265237"/>
                        <a:pt x="1348279" y="1265237"/>
                      </a:cubicBezTo>
                      <a:cubicBezTo>
                        <a:pt x="1348279" y="1265237"/>
                        <a:pt x="1348279" y="1265237"/>
                        <a:pt x="96345" y="1265237"/>
                      </a:cubicBezTo>
                      <a:cubicBezTo>
                        <a:pt x="84924" y="1265237"/>
                        <a:pt x="77787" y="1253798"/>
                        <a:pt x="81356" y="1243789"/>
                      </a:cubicBezTo>
                      <a:cubicBezTo>
                        <a:pt x="101341" y="1190882"/>
                        <a:pt x="158442" y="1052897"/>
                        <a:pt x="236956" y="1017149"/>
                      </a:cubicBezTo>
                      <a:cubicBezTo>
                        <a:pt x="319752" y="978542"/>
                        <a:pt x="461790" y="971392"/>
                        <a:pt x="502474" y="969962"/>
                      </a:cubicBezTo>
                      <a:close/>
                      <a:moveTo>
                        <a:pt x="461962" y="736600"/>
                      </a:moveTo>
                      <a:cubicBezTo>
                        <a:pt x="461962" y="736600"/>
                        <a:pt x="461962" y="736600"/>
                        <a:pt x="496284" y="736600"/>
                      </a:cubicBezTo>
                      <a:cubicBezTo>
                        <a:pt x="520595" y="792846"/>
                        <a:pt x="547051" y="846955"/>
                        <a:pt x="559922" y="858347"/>
                      </a:cubicBezTo>
                      <a:cubicBezTo>
                        <a:pt x="562067" y="860483"/>
                        <a:pt x="564927" y="861907"/>
                        <a:pt x="567072" y="864043"/>
                      </a:cubicBezTo>
                      <a:cubicBezTo>
                        <a:pt x="574937" y="870450"/>
                        <a:pt x="584948" y="877570"/>
                        <a:pt x="595673" y="885402"/>
                      </a:cubicBezTo>
                      <a:cubicBezTo>
                        <a:pt x="634285" y="911033"/>
                        <a:pt x="687912" y="938800"/>
                        <a:pt x="721519" y="938800"/>
                      </a:cubicBezTo>
                      <a:cubicBezTo>
                        <a:pt x="755125" y="938800"/>
                        <a:pt x="808753" y="911033"/>
                        <a:pt x="847364" y="885402"/>
                      </a:cubicBezTo>
                      <a:cubicBezTo>
                        <a:pt x="858090" y="877570"/>
                        <a:pt x="868100" y="870450"/>
                        <a:pt x="875966" y="864043"/>
                      </a:cubicBezTo>
                      <a:cubicBezTo>
                        <a:pt x="878111" y="861907"/>
                        <a:pt x="880971" y="860483"/>
                        <a:pt x="883116" y="858347"/>
                      </a:cubicBezTo>
                      <a:cubicBezTo>
                        <a:pt x="895986" y="846955"/>
                        <a:pt x="922443" y="792846"/>
                        <a:pt x="946754" y="736600"/>
                      </a:cubicBezTo>
                      <a:cubicBezTo>
                        <a:pt x="946754" y="736600"/>
                        <a:pt x="946754" y="736600"/>
                        <a:pt x="981075" y="736600"/>
                      </a:cubicBezTo>
                      <a:cubicBezTo>
                        <a:pt x="961769" y="782878"/>
                        <a:pt x="936743" y="835564"/>
                        <a:pt x="918152" y="864043"/>
                      </a:cubicBezTo>
                      <a:cubicBezTo>
                        <a:pt x="915292" y="868315"/>
                        <a:pt x="912432" y="871874"/>
                        <a:pt x="910287" y="874722"/>
                      </a:cubicBezTo>
                      <a:cubicBezTo>
                        <a:pt x="910287" y="874722"/>
                        <a:pt x="910287" y="874722"/>
                        <a:pt x="910287" y="916728"/>
                      </a:cubicBezTo>
                      <a:cubicBezTo>
                        <a:pt x="910287" y="916728"/>
                        <a:pt x="910287" y="916728"/>
                        <a:pt x="910287" y="945919"/>
                      </a:cubicBezTo>
                      <a:cubicBezTo>
                        <a:pt x="908142" y="947343"/>
                        <a:pt x="896701" y="957311"/>
                        <a:pt x="878826" y="971550"/>
                      </a:cubicBezTo>
                      <a:lnTo>
                        <a:pt x="878826" y="939511"/>
                      </a:lnTo>
                      <a:cubicBezTo>
                        <a:pt x="878826" y="939511"/>
                        <a:pt x="878826" y="939511"/>
                        <a:pt x="878826" y="901065"/>
                      </a:cubicBezTo>
                      <a:cubicBezTo>
                        <a:pt x="869530" y="908185"/>
                        <a:pt x="858805" y="915305"/>
                        <a:pt x="847364" y="922424"/>
                      </a:cubicBezTo>
                      <a:cubicBezTo>
                        <a:pt x="807323" y="946631"/>
                        <a:pt x="757985" y="970126"/>
                        <a:pt x="721519" y="970126"/>
                      </a:cubicBezTo>
                      <a:cubicBezTo>
                        <a:pt x="685052" y="970126"/>
                        <a:pt x="635715" y="946631"/>
                        <a:pt x="595673" y="922424"/>
                      </a:cubicBezTo>
                      <a:cubicBezTo>
                        <a:pt x="584233" y="915305"/>
                        <a:pt x="573507" y="908185"/>
                        <a:pt x="564212" y="901065"/>
                      </a:cubicBezTo>
                      <a:cubicBezTo>
                        <a:pt x="564212" y="901065"/>
                        <a:pt x="564212" y="901065"/>
                        <a:pt x="564212" y="939511"/>
                      </a:cubicBezTo>
                      <a:cubicBezTo>
                        <a:pt x="564212" y="939511"/>
                        <a:pt x="564212" y="939511"/>
                        <a:pt x="564212" y="971550"/>
                      </a:cubicBezTo>
                      <a:cubicBezTo>
                        <a:pt x="547051" y="957311"/>
                        <a:pt x="534895" y="947343"/>
                        <a:pt x="532750" y="945919"/>
                      </a:cubicBezTo>
                      <a:cubicBezTo>
                        <a:pt x="532750" y="945919"/>
                        <a:pt x="532750" y="945919"/>
                        <a:pt x="532750" y="916728"/>
                      </a:cubicBezTo>
                      <a:cubicBezTo>
                        <a:pt x="532750" y="916728"/>
                        <a:pt x="532750" y="916728"/>
                        <a:pt x="532750" y="874722"/>
                      </a:cubicBezTo>
                      <a:cubicBezTo>
                        <a:pt x="530605" y="871874"/>
                        <a:pt x="527745" y="868315"/>
                        <a:pt x="524885" y="864043"/>
                      </a:cubicBezTo>
                      <a:cubicBezTo>
                        <a:pt x="506294" y="835564"/>
                        <a:pt x="481268" y="782878"/>
                        <a:pt x="461962" y="736600"/>
                      </a:cubicBezTo>
                      <a:close/>
                      <a:moveTo>
                        <a:pt x="195101" y="673100"/>
                      </a:moveTo>
                      <a:cubicBezTo>
                        <a:pt x="195101" y="673100"/>
                        <a:pt x="195101" y="673100"/>
                        <a:pt x="396526" y="673100"/>
                      </a:cubicBezTo>
                      <a:cubicBezTo>
                        <a:pt x="396526" y="673100"/>
                        <a:pt x="396526" y="673100"/>
                        <a:pt x="435810" y="673100"/>
                      </a:cubicBezTo>
                      <a:cubicBezTo>
                        <a:pt x="435810" y="673100"/>
                        <a:pt x="435810" y="673100"/>
                        <a:pt x="470095" y="673100"/>
                      </a:cubicBezTo>
                      <a:cubicBezTo>
                        <a:pt x="470095" y="673100"/>
                        <a:pt x="470095" y="673100"/>
                        <a:pt x="503666" y="673100"/>
                      </a:cubicBezTo>
                      <a:cubicBezTo>
                        <a:pt x="503666" y="673100"/>
                        <a:pt x="503666" y="673100"/>
                        <a:pt x="679377" y="673100"/>
                      </a:cubicBezTo>
                      <a:cubicBezTo>
                        <a:pt x="679377" y="673100"/>
                        <a:pt x="679377" y="673100"/>
                        <a:pt x="715090" y="673100"/>
                      </a:cubicBezTo>
                      <a:cubicBezTo>
                        <a:pt x="715090" y="673100"/>
                        <a:pt x="715090" y="673100"/>
                        <a:pt x="760804" y="673100"/>
                      </a:cubicBezTo>
                      <a:cubicBezTo>
                        <a:pt x="760804" y="673100"/>
                        <a:pt x="760804" y="673100"/>
                        <a:pt x="795803" y="673100"/>
                      </a:cubicBezTo>
                      <a:cubicBezTo>
                        <a:pt x="795803" y="673100"/>
                        <a:pt x="795803" y="673100"/>
                        <a:pt x="939371" y="673100"/>
                      </a:cubicBezTo>
                      <a:cubicBezTo>
                        <a:pt x="939371" y="673100"/>
                        <a:pt x="939371" y="673100"/>
                        <a:pt x="972942" y="673100"/>
                      </a:cubicBezTo>
                      <a:cubicBezTo>
                        <a:pt x="972942" y="673100"/>
                        <a:pt x="972942" y="673100"/>
                        <a:pt x="1007227" y="673100"/>
                      </a:cubicBezTo>
                      <a:cubicBezTo>
                        <a:pt x="1007227" y="673100"/>
                        <a:pt x="1007227" y="673100"/>
                        <a:pt x="1046512" y="673100"/>
                      </a:cubicBezTo>
                      <a:cubicBezTo>
                        <a:pt x="1046512" y="673100"/>
                        <a:pt x="1046512" y="673100"/>
                        <a:pt x="1247936" y="673100"/>
                      </a:cubicBezTo>
                      <a:cubicBezTo>
                        <a:pt x="1256507" y="673100"/>
                        <a:pt x="1263650" y="680316"/>
                        <a:pt x="1263650" y="688975"/>
                      </a:cubicBezTo>
                      <a:cubicBezTo>
                        <a:pt x="1263650" y="697634"/>
                        <a:pt x="1256507" y="704850"/>
                        <a:pt x="1247936" y="704850"/>
                      </a:cubicBezTo>
                      <a:cubicBezTo>
                        <a:pt x="1247936" y="704850"/>
                        <a:pt x="1247936" y="704850"/>
                        <a:pt x="1027941" y="704850"/>
                      </a:cubicBezTo>
                      <a:cubicBezTo>
                        <a:pt x="1027941" y="704850"/>
                        <a:pt x="1027941" y="704850"/>
                        <a:pt x="994370" y="704850"/>
                      </a:cubicBezTo>
                      <a:cubicBezTo>
                        <a:pt x="994370" y="704850"/>
                        <a:pt x="994370" y="704850"/>
                        <a:pt x="960085" y="704850"/>
                      </a:cubicBezTo>
                      <a:cubicBezTo>
                        <a:pt x="960085" y="704850"/>
                        <a:pt x="960085" y="704850"/>
                        <a:pt x="925800" y="704850"/>
                      </a:cubicBezTo>
                      <a:cubicBezTo>
                        <a:pt x="925800" y="704850"/>
                        <a:pt x="925800" y="704850"/>
                        <a:pt x="770089" y="704850"/>
                      </a:cubicBezTo>
                      <a:cubicBezTo>
                        <a:pt x="770089" y="704850"/>
                        <a:pt x="770089" y="704850"/>
                        <a:pt x="705805" y="704850"/>
                      </a:cubicBezTo>
                      <a:cubicBezTo>
                        <a:pt x="705805" y="704850"/>
                        <a:pt x="705805" y="704850"/>
                        <a:pt x="517237" y="704850"/>
                      </a:cubicBezTo>
                      <a:cubicBezTo>
                        <a:pt x="517237" y="704850"/>
                        <a:pt x="517237" y="704850"/>
                        <a:pt x="482952" y="704850"/>
                      </a:cubicBezTo>
                      <a:cubicBezTo>
                        <a:pt x="482952" y="704850"/>
                        <a:pt x="482952" y="704850"/>
                        <a:pt x="448667" y="704850"/>
                      </a:cubicBezTo>
                      <a:cubicBezTo>
                        <a:pt x="448667" y="704850"/>
                        <a:pt x="448667" y="704850"/>
                        <a:pt x="415097" y="704850"/>
                      </a:cubicBezTo>
                      <a:cubicBezTo>
                        <a:pt x="415097" y="704850"/>
                        <a:pt x="415097" y="704850"/>
                        <a:pt x="195101" y="704850"/>
                      </a:cubicBezTo>
                      <a:cubicBezTo>
                        <a:pt x="186530" y="704850"/>
                        <a:pt x="179387" y="697634"/>
                        <a:pt x="179387" y="688975"/>
                      </a:cubicBezTo>
                      <a:cubicBezTo>
                        <a:pt x="179387" y="680316"/>
                        <a:pt x="186530" y="673100"/>
                        <a:pt x="195101" y="673100"/>
                      </a:cubicBezTo>
                      <a:close/>
                      <a:moveTo>
                        <a:pt x="1062037" y="579437"/>
                      </a:moveTo>
                      <a:cubicBezTo>
                        <a:pt x="1062037" y="580140"/>
                        <a:pt x="1062037" y="580844"/>
                        <a:pt x="1062037" y="581548"/>
                      </a:cubicBezTo>
                      <a:cubicBezTo>
                        <a:pt x="1059901" y="594211"/>
                        <a:pt x="1054204" y="620243"/>
                        <a:pt x="1034263" y="641349"/>
                      </a:cubicBezTo>
                      <a:cubicBezTo>
                        <a:pt x="1034263" y="641349"/>
                        <a:pt x="1034263" y="641349"/>
                        <a:pt x="985837" y="641349"/>
                      </a:cubicBezTo>
                      <a:cubicBezTo>
                        <a:pt x="987262" y="637831"/>
                        <a:pt x="990110" y="635721"/>
                        <a:pt x="992959" y="633610"/>
                      </a:cubicBezTo>
                      <a:cubicBezTo>
                        <a:pt x="1010762" y="625167"/>
                        <a:pt x="1020733" y="609689"/>
                        <a:pt x="1025718" y="596322"/>
                      </a:cubicBezTo>
                      <a:cubicBezTo>
                        <a:pt x="1025718" y="596322"/>
                        <a:pt x="1025718" y="596322"/>
                        <a:pt x="1062037" y="579437"/>
                      </a:cubicBezTo>
                      <a:close/>
                      <a:moveTo>
                        <a:pt x="381000" y="579437"/>
                      </a:moveTo>
                      <a:cubicBezTo>
                        <a:pt x="381000" y="579437"/>
                        <a:pt x="381000" y="579437"/>
                        <a:pt x="417320" y="596322"/>
                      </a:cubicBezTo>
                      <a:cubicBezTo>
                        <a:pt x="422305" y="609689"/>
                        <a:pt x="432275" y="625167"/>
                        <a:pt x="450079" y="633610"/>
                      </a:cubicBezTo>
                      <a:cubicBezTo>
                        <a:pt x="452927" y="635721"/>
                        <a:pt x="455776" y="637831"/>
                        <a:pt x="457200" y="641349"/>
                      </a:cubicBezTo>
                      <a:cubicBezTo>
                        <a:pt x="457200" y="641349"/>
                        <a:pt x="457200" y="641349"/>
                        <a:pt x="408774" y="641349"/>
                      </a:cubicBezTo>
                      <a:cubicBezTo>
                        <a:pt x="390258" y="621650"/>
                        <a:pt x="383849" y="597729"/>
                        <a:pt x="381000" y="582955"/>
                      </a:cubicBezTo>
                      <a:cubicBezTo>
                        <a:pt x="381000" y="582251"/>
                        <a:pt x="381000" y="580844"/>
                        <a:pt x="381000" y="579437"/>
                      </a:cubicBezTo>
                      <a:close/>
                      <a:moveTo>
                        <a:pt x="1355615" y="0"/>
                      </a:moveTo>
                      <a:cubicBezTo>
                        <a:pt x="1355615" y="0"/>
                        <a:pt x="1355615" y="0"/>
                        <a:pt x="1427273" y="0"/>
                      </a:cubicBezTo>
                      <a:cubicBezTo>
                        <a:pt x="1435872" y="0"/>
                        <a:pt x="1443038" y="6449"/>
                        <a:pt x="1443038" y="15765"/>
                      </a:cubicBezTo>
                      <a:cubicBezTo>
                        <a:pt x="1443038" y="15765"/>
                        <a:pt x="1443038" y="15765"/>
                        <a:pt x="1443038" y="87422"/>
                      </a:cubicBezTo>
                      <a:cubicBezTo>
                        <a:pt x="1443038" y="96021"/>
                        <a:pt x="1435872" y="103187"/>
                        <a:pt x="1427273" y="103187"/>
                      </a:cubicBezTo>
                      <a:cubicBezTo>
                        <a:pt x="1418674" y="103187"/>
                        <a:pt x="1411509" y="96021"/>
                        <a:pt x="1411509" y="87422"/>
                      </a:cubicBezTo>
                      <a:cubicBezTo>
                        <a:pt x="1411509" y="87422"/>
                        <a:pt x="1411509" y="87422"/>
                        <a:pt x="1411509" y="31529"/>
                      </a:cubicBezTo>
                      <a:cubicBezTo>
                        <a:pt x="1411509" y="31529"/>
                        <a:pt x="1411509" y="31529"/>
                        <a:pt x="1355615" y="31529"/>
                      </a:cubicBezTo>
                      <a:cubicBezTo>
                        <a:pt x="1347016" y="31529"/>
                        <a:pt x="1339850" y="24363"/>
                        <a:pt x="1339850" y="15765"/>
                      </a:cubicBezTo>
                      <a:cubicBezTo>
                        <a:pt x="1339850" y="6449"/>
                        <a:pt x="1347016" y="0"/>
                        <a:pt x="1355615" y="0"/>
                      </a:cubicBezTo>
                      <a:close/>
                      <a:moveTo>
                        <a:pt x="15765" y="0"/>
                      </a:moveTo>
                      <a:cubicBezTo>
                        <a:pt x="15765" y="0"/>
                        <a:pt x="15765" y="0"/>
                        <a:pt x="87423" y="0"/>
                      </a:cubicBezTo>
                      <a:cubicBezTo>
                        <a:pt x="96022" y="0"/>
                        <a:pt x="103188" y="6449"/>
                        <a:pt x="103188" y="15765"/>
                      </a:cubicBezTo>
                      <a:cubicBezTo>
                        <a:pt x="103188" y="24363"/>
                        <a:pt x="96022" y="31529"/>
                        <a:pt x="87423" y="31529"/>
                      </a:cubicBezTo>
                      <a:cubicBezTo>
                        <a:pt x="87423" y="31529"/>
                        <a:pt x="87423" y="31529"/>
                        <a:pt x="31529" y="31529"/>
                      </a:cubicBezTo>
                      <a:cubicBezTo>
                        <a:pt x="31529" y="31529"/>
                        <a:pt x="31529" y="31529"/>
                        <a:pt x="31529" y="87422"/>
                      </a:cubicBezTo>
                      <a:cubicBezTo>
                        <a:pt x="31529" y="96021"/>
                        <a:pt x="24364" y="103187"/>
                        <a:pt x="15765" y="103187"/>
                      </a:cubicBezTo>
                      <a:cubicBezTo>
                        <a:pt x="7166" y="103187"/>
                        <a:pt x="0" y="96021"/>
                        <a:pt x="0" y="87422"/>
                      </a:cubicBezTo>
                      <a:cubicBezTo>
                        <a:pt x="0" y="87422"/>
                        <a:pt x="0" y="87422"/>
                        <a:pt x="0" y="15765"/>
                      </a:cubicBezTo>
                      <a:cubicBezTo>
                        <a:pt x="0" y="6449"/>
                        <a:pt x="7166" y="0"/>
                        <a:pt x="1576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F7DF48A-AF3D-4451-98D9-16E17D196B10}"/>
              </a:ext>
            </a:extLst>
          </p:cNvPr>
          <p:cNvGrpSpPr/>
          <p:nvPr/>
        </p:nvGrpSpPr>
        <p:grpSpPr>
          <a:xfrm>
            <a:off x="-1" y="1445448"/>
            <a:ext cx="3361060" cy="738664"/>
            <a:chOff x="-1" y="1445448"/>
            <a:chExt cx="3361060" cy="738664"/>
          </a:xfrm>
        </p:grpSpPr>
        <p:sp>
          <p:nvSpPr>
            <p:cNvPr id="39" name="Rectangle: Top Corners Rounded 38">
              <a:extLst>
                <a:ext uri="{FF2B5EF4-FFF2-40B4-BE49-F238E27FC236}">
                  <a16:creationId xmlns:a16="http://schemas.microsoft.com/office/drawing/2014/main" id="{5C73FDDD-D42A-4FE9-9270-693DBD10FBA6}"/>
                </a:ext>
              </a:extLst>
            </p:cNvPr>
            <p:cNvSpPr/>
            <p:nvPr/>
          </p:nvSpPr>
          <p:spPr>
            <a:xfrm rot="5400000">
              <a:off x="1311197" y="13425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40" name="ee4pHeader1">
              <a:extLst>
                <a:ext uri="{FF2B5EF4-FFF2-40B4-BE49-F238E27FC236}">
                  <a16:creationId xmlns:a16="http://schemas.microsoft.com/office/drawing/2014/main" id="{96F0A335-E1DE-49FC-9CB7-86C000DB9442}"/>
                </a:ext>
              </a:extLst>
            </p:cNvPr>
            <p:cNvSpPr txBox="1"/>
            <p:nvPr/>
          </p:nvSpPr>
          <p:spPr>
            <a:xfrm>
              <a:off x="288478" y="1445448"/>
              <a:ext cx="2923073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ctr" anchorCtr="0">
              <a:no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fini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524C126-F842-44D8-81B3-710A7FE95D4B}"/>
              </a:ext>
            </a:extLst>
          </p:cNvPr>
          <p:cNvGrpSpPr>
            <a:grpSpLocks noChangeAspect="1"/>
          </p:cNvGrpSpPr>
          <p:nvPr/>
        </p:nvGrpSpPr>
        <p:grpSpPr>
          <a:xfrm>
            <a:off x="318702" y="1591593"/>
            <a:ext cx="446806" cy="446374"/>
            <a:chOff x="5273675" y="2606675"/>
            <a:chExt cx="1646238" cy="1644650"/>
          </a:xfrm>
        </p:grpSpPr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E61B5F86-7F70-433D-829F-8C742C2D758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0843F5D2-52EE-4557-BD56-5D0710CB1296}"/>
                </a:ext>
              </a:extLst>
            </p:cNvPr>
            <p:cNvGrpSpPr/>
            <p:nvPr/>
          </p:nvGrpSpPr>
          <p:grpSpPr>
            <a:xfrm>
              <a:off x="5651500" y="2971800"/>
              <a:ext cx="892175" cy="1109663"/>
              <a:chOff x="5651500" y="2971800"/>
              <a:chExt cx="892175" cy="1109663"/>
            </a:xfrm>
          </p:grpSpPr>
          <p:sp>
            <p:nvSpPr>
              <p:cNvPr id="47" name="Freeform 20">
                <a:extLst>
                  <a:ext uri="{FF2B5EF4-FFF2-40B4-BE49-F238E27FC236}">
                    <a16:creationId xmlns:a16="http://schemas.microsoft.com/office/drawing/2014/main" id="{F21592B1-907C-485A-AFFC-2770576CC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2971800"/>
                <a:ext cx="892175" cy="1109663"/>
              </a:xfrm>
              <a:custGeom>
                <a:avLst/>
                <a:gdLst>
                  <a:gd name="connsiteX0" fmla="*/ 30163 w 892175"/>
                  <a:gd name="connsiteY0" fmla="*/ 198438 h 1109663"/>
                  <a:gd name="connsiteX1" fmla="*/ 30163 w 892175"/>
                  <a:gd name="connsiteY1" fmla="*/ 1077913 h 1109663"/>
                  <a:gd name="connsiteX2" fmla="*/ 654051 w 892175"/>
                  <a:gd name="connsiteY2" fmla="*/ 1077913 h 1109663"/>
                  <a:gd name="connsiteX3" fmla="*/ 654051 w 892175"/>
                  <a:gd name="connsiteY3" fmla="*/ 942976 h 1109663"/>
                  <a:gd name="connsiteX4" fmla="*/ 654051 w 892175"/>
                  <a:gd name="connsiteY4" fmla="*/ 927101 h 1109663"/>
                  <a:gd name="connsiteX5" fmla="*/ 654051 w 892175"/>
                  <a:gd name="connsiteY5" fmla="*/ 911226 h 1109663"/>
                  <a:gd name="connsiteX6" fmla="*/ 654051 w 892175"/>
                  <a:gd name="connsiteY6" fmla="*/ 198438 h 1109663"/>
                  <a:gd name="connsiteX7" fmla="*/ 238126 w 892175"/>
                  <a:gd name="connsiteY7" fmla="*/ 198438 h 1109663"/>
                  <a:gd name="connsiteX8" fmla="*/ 222251 w 892175"/>
                  <a:gd name="connsiteY8" fmla="*/ 198438 h 1109663"/>
                  <a:gd name="connsiteX9" fmla="*/ 206376 w 892175"/>
                  <a:gd name="connsiteY9" fmla="*/ 198438 h 1109663"/>
                  <a:gd name="connsiteX10" fmla="*/ 238125 w 892175"/>
                  <a:gd name="connsiteY10" fmla="*/ 31750 h 1109663"/>
                  <a:gd name="connsiteX11" fmla="*/ 238125 w 892175"/>
                  <a:gd name="connsiteY11" fmla="*/ 166670 h 1109663"/>
                  <a:gd name="connsiteX12" fmla="*/ 670100 w 892175"/>
                  <a:gd name="connsiteY12" fmla="*/ 166670 h 1109663"/>
                  <a:gd name="connsiteX13" fmla="*/ 685782 w 892175"/>
                  <a:gd name="connsiteY13" fmla="*/ 182375 h 1109663"/>
                  <a:gd name="connsiteX14" fmla="*/ 685782 w 892175"/>
                  <a:gd name="connsiteY14" fmla="*/ 911225 h 1109663"/>
                  <a:gd name="connsiteX15" fmla="*/ 860425 w 892175"/>
                  <a:gd name="connsiteY15" fmla="*/ 911225 h 1109663"/>
                  <a:gd name="connsiteX16" fmla="*/ 860425 w 892175"/>
                  <a:gd name="connsiteY16" fmla="*/ 31750 h 1109663"/>
                  <a:gd name="connsiteX17" fmla="*/ 238125 w 892175"/>
                  <a:gd name="connsiteY17" fmla="*/ 31750 h 1109663"/>
                  <a:gd name="connsiteX18" fmla="*/ 221973 w 892175"/>
                  <a:gd name="connsiteY18" fmla="*/ 0 h 1109663"/>
                  <a:gd name="connsiteX19" fmla="*/ 876473 w 892175"/>
                  <a:gd name="connsiteY19" fmla="*/ 0 h 1109663"/>
                  <a:gd name="connsiteX20" fmla="*/ 892175 w 892175"/>
                  <a:gd name="connsiteY20" fmla="*/ 15720 h 1109663"/>
                  <a:gd name="connsiteX21" fmla="*/ 892175 w 892175"/>
                  <a:gd name="connsiteY21" fmla="*/ 927458 h 1109663"/>
                  <a:gd name="connsiteX22" fmla="*/ 876473 w 892175"/>
                  <a:gd name="connsiteY22" fmla="*/ 943178 h 1109663"/>
                  <a:gd name="connsiteX23" fmla="*/ 685904 w 892175"/>
                  <a:gd name="connsiteY23" fmla="*/ 943178 h 1109663"/>
                  <a:gd name="connsiteX24" fmla="*/ 685904 w 892175"/>
                  <a:gd name="connsiteY24" fmla="*/ 1093944 h 1109663"/>
                  <a:gd name="connsiteX25" fmla="*/ 670202 w 892175"/>
                  <a:gd name="connsiteY25" fmla="*/ 1109663 h 1109663"/>
                  <a:gd name="connsiteX26" fmla="*/ 15703 w 892175"/>
                  <a:gd name="connsiteY26" fmla="*/ 1109663 h 1109663"/>
                  <a:gd name="connsiteX27" fmla="*/ 0 w 892175"/>
                  <a:gd name="connsiteY27" fmla="*/ 1093944 h 1109663"/>
                  <a:gd name="connsiteX28" fmla="*/ 0 w 892175"/>
                  <a:gd name="connsiteY28" fmla="*/ 182205 h 1109663"/>
                  <a:gd name="connsiteX29" fmla="*/ 15703 w 892175"/>
                  <a:gd name="connsiteY29" fmla="*/ 166485 h 1109663"/>
                  <a:gd name="connsiteX30" fmla="*/ 206271 w 892175"/>
                  <a:gd name="connsiteY30" fmla="*/ 166485 h 1109663"/>
                  <a:gd name="connsiteX31" fmla="*/ 206271 w 892175"/>
                  <a:gd name="connsiteY31" fmla="*/ 15720 h 1109663"/>
                  <a:gd name="connsiteX32" fmla="*/ 221973 w 892175"/>
                  <a:gd name="connsiteY32" fmla="*/ 0 h 110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92175" h="1109663">
                    <a:moveTo>
                      <a:pt x="30163" y="198438"/>
                    </a:moveTo>
                    <a:lnTo>
                      <a:pt x="30163" y="1077913"/>
                    </a:lnTo>
                    <a:lnTo>
                      <a:pt x="654051" y="1077913"/>
                    </a:lnTo>
                    <a:lnTo>
                      <a:pt x="654051" y="942976"/>
                    </a:lnTo>
                    <a:lnTo>
                      <a:pt x="654051" y="927101"/>
                    </a:lnTo>
                    <a:lnTo>
                      <a:pt x="654051" y="911226"/>
                    </a:lnTo>
                    <a:lnTo>
                      <a:pt x="654051" y="198438"/>
                    </a:lnTo>
                    <a:lnTo>
                      <a:pt x="238126" y="198438"/>
                    </a:lnTo>
                    <a:lnTo>
                      <a:pt x="222251" y="198438"/>
                    </a:lnTo>
                    <a:lnTo>
                      <a:pt x="206376" y="198438"/>
                    </a:lnTo>
                    <a:close/>
                    <a:moveTo>
                      <a:pt x="238125" y="31750"/>
                    </a:moveTo>
                    <a:lnTo>
                      <a:pt x="238125" y="166670"/>
                    </a:lnTo>
                    <a:cubicBezTo>
                      <a:pt x="238125" y="166670"/>
                      <a:pt x="238125" y="166670"/>
                      <a:pt x="670100" y="166670"/>
                    </a:cubicBezTo>
                    <a:cubicBezTo>
                      <a:pt x="678654" y="166670"/>
                      <a:pt x="685782" y="173808"/>
                      <a:pt x="685782" y="182375"/>
                    </a:cubicBezTo>
                    <a:cubicBezTo>
                      <a:pt x="685782" y="182375"/>
                      <a:pt x="685782" y="182375"/>
                      <a:pt x="685782" y="911225"/>
                    </a:cubicBezTo>
                    <a:cubicBezTo>
                      <a:pt x="685782" y="911225"/>
                      <a:pt x="685782" y="911225"/>
                      <a:pt x="860425" y="911225"/>
                    </a:cubicBezTo>
                    <a:cubicBezTo>
                      <a:pt x="860425" y="911225"/>
                      <a:pt x="860425" y="911225"/>
                      <a:pt x="860425" y="31750"/>
                    </a:cubicBezTo>
                    <a:cubicBezTo>
                      <a:pt x="860425" y="31750"/>
                      <a:pt x="860425" y="31750"/>
                      <a:pt x="238125" y="31750"/>
                    </a:cubicBezTo>
                    <a:close/>
                    <a:moveTo>
                      <a:pt x="221973" y="0"/>
                    </a:moveTo>
                    <a:cubicBezTo>
                      <a:pt x="221973" y="0"/>
                      <a:pt x="221973" y="0"/>
                      <a:pt x="876473" y="0"/>
                    </a:cubicBezTo>
                    <a:cubicBezTo>
                      <a:pt x="885752" y="0"/>
                      <a:pt x="892175" y="7145"/>
                      <a:pt x="892175" y="15720"/>
                    </a:cubicBezTo>
                    <a:cubicBezTo>
                      <a:pt x="892175" y="15720"/>
                      <a:pt x="892175" y="15720"/>
                      <a:pt x="892175" y="927458"/>
                    </a:cubicBezTo>
                    <a:cubicBezTo>
                      <a:pt x="892175" y="936033"/>
                      <a:pt x="885752" y="943178"/>
                      <a:pt x="876473" y="943178"/>
                    </a:cubicBezTo>
                    <a:cubicBezTo>
                      <a:pt x="876473" y="943178"/>
                      <a:pt x="876473" y="943178"/>
                      <a:pt x="685904" y="943178"/>
                    </a:cubicBezTo>
                    <a:cubicBezTo>
                      <a:pt x="685904" y="943178"/>
                      <a:pt x="685904" y="943178"/>
                      <a:pt x="685904" y="1093944"/>
                    </a:cubicBezTo>
                    <a:cubicBezTo>
                      <a:pt x="685904" y="1102518"/>
                      <a:pt x="678767" y="1109663"/>
                      <a:pt x="670202" y="1109663"/>
                    </a:cubicBezTo>
                    <a:cubicBezTo>
                      <a:pt x="670202" y="1109663"/>
                      <a:pt x="670202" y="1109663"/>
                      <a:pt x="15703" y="1109663"/>
                    </a:cubicBezTo>
                    <a:cubicBezTo>
                      <a:pt x="6424" y="1109663"/>
                      <a:pt x="0" y="1102518"/>
                      <a:pt x="0" y="1093944"/>
                    </a:cubicBezTo>
                    <a:cubicBezTo>
                      <a:pt x="0" y="1093944"/>
                      <a:pt x="0" y="1093944"/>
                      <a:pt x="0" y="182205"/>
                    </a:cubicBezTo>
                    <a:cubicBezTo>
                      <a:pt x="0" y="173631"/>
                      <a:pt x="6424" y="166485"/>
                      <a:pt x="15703" y="166485"/>
                    </a:cubicBezTo>
                    <a:cubicBezTo>
                      <a:pt x="15703" y="166485"/>
                      <a:pt x="15703" y="166485"/>
                      <a:pt x="206271" y="166485"/>
                    </a:cubicBezTo>
                    <a:cubicBezTo>
                      <a:pt x="206271" y="166485"/>
                      <a:pt x="206271" y="166485"/>
                      <a:pt x="206271" y="15720"/>
                    </a:cubicBezTo>
                    <a:cubicBezTo>
                      <a:pt x="206271" y="7145"/>
                      <a:pt x="213409" y="0"/>
                      <a:pt x="2219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1">
                <a:extLst>
                  <a:ext uri="{FF2B5EF4-FFF2-40B4-BE49-F238E27FC236}">
                    <a16:creationId xmlns:a16="http://schemas.microsoft.com/office/drawing/2014/main" id="{2F4553D6-FA62-4D8E-8307-C744D6BD0D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88" y="3287713"/>
                <a:ext cx="454025" cy="646113"/>
              </a:xfrm>
              <a:custGeom>
                <a:avLst/>
                <a:gdLst>
                  <a:gd name="connsiteX0" fmla="*/ 15681 w 454025"/>
                  <a:gd name="connsiteY0" fmla="*/ 615950 h 646113"/>
                  <a:gd name="connsiteX1" fmla="*/ 91233 w 454025"/>
                  <a:gd name="connsiteY1" fmla="*/ 615950 h 646113"/>
                  <a:gd name="connsiteX2" fmla="*/ 439057 w 454025"/>
                  <a:gd name="connsiteY2" fmla="*/ 615950 h 646113"/>
                  <a:gd name="connsiteX3" fmla="*/ 453312 w 454025"/>
                  <a:gd name="connsiteY3" fmla="*/ 626472 h 646113"/>
                  <a:gd name="connsiteX4" fmla="*/ 454025 w 454025"/>
                  <a:gd name="connsiteY4" fmla="*/ 631382 h 646113"/>
                  <a:gd name="connsiteX5" fmla="*/ 454025 w 454025"/>
                  <a:gd name="connsiteY5" fmla="*/ 632785 h 646113"/>
                  <a:gd name="connsiteX6" fmla="*/ 444047 w 454025"/>
                  <a:gd name="connsiteY6" fmla="*/ 645412 h 646113"/>
                  <a:gd name="connsiteX7" fmla="*/ 442621 w 454025"/>
                  <a:gd name="connsiteY7" fmla="*/ 646113 h 646113"/>
                  <a:gd name="connsiteX8" fmla="*/ 441908 w 454025"/>
                  <a:gd name="connsiteY8" fmla="*/ 646113 h 646113"/>
                  <a:gd name="connsiteX9" fmla="*/ 439057 w 454025"/>
                  <a:gd name="connsiteY9" fmla="*/ 646113 h 646113"/>
                  <a:gd name="connsiteX10" fmla="*/ 15681 w 454025"/>
                  <a:gd name="connsiteY10" fmla="*/ 646113 h 646113"/>
                  <a:gd name="connsiteX11" fmla="*/ 14968 w 454025"/>
                  <a:gd name="connsiteY11" fmla="*/ 646113 h 646113"/>
                  <a:gd name="connsiteX12" fmla="*/ 0 w 454025"/>
                  <a:gd name="connsiteY12" fmla="*/ 631382 h 646113"/>
                  <a:gd name="connsiteX13" fmla="*/ 15681 w 454025"/>
                  <a:gd name="connsiteY13" fmla="*/ 615950 h 646113"/>
                  <a:gd name="connsiteX14" fmla="*/ 15681 w 454025"/>
                  <a:gd name="connsiteY14" fmla="*/ 512762 h 646113"/>
                  <a:gd name="connsiteX15" fmla="*/ 90520 w 454025"/>
                  <a:gd name="connsiteY15" fmla="*/ 512762 h 646113"/>
                  <a:gd name="connsiteX16" fmla="*/ 106201 w 454025"/>
                  <a:gd name="connsiteY16" fmla="*/ 512762 h 646113"/>
                  <a:gd name="connsiteX17" fmla="*/ 121881 w 454025"/>
                  <a:gd name="connsiteY17" fmla="*/ 512762 h 646113"/>
                  <a:gd name="connsiteX18" fmla="*/ 439057 w 454025"/>
                  <a:gd name="connsiteY18" fmla="*/ 512762 h 646113"/>
                  <a:gd name="connsiteX19" fmla="*/ 454025 w 454025"/>
                  <a:gd name="connsiteY19" fmla="*/ 528637 h 646113"/>
                  <a:gd name="connsiteX20" fmla="*/ 454025 w 454025"/>
                  <a:gd name="connsiteY20" fmla="*/ 531523 h 646113"/>
                  <a:gd name="connsiteX21" fmla="*/ 453312 w 454025"/>
                  <a:gd name="connsiteY21" fmla="*/ 532967 h 646113"/>
                  <a:gd name="connsiteX22" fmla="*/ 453312 w 454025"/>
                  <a:gd name="connsiteY22" fmla="*/ 533688 h 646113"/>
                  <a:gd name="connsiteX23" fmla="*/ 444047 w 454025"/>
                  <a:gd name="connsiteY23" fmla="*/ 543791 h 646113"/>
                  <a:gd name="connsiteX24" fmla="*/ 443334 w 454025"/>
                  <a:gd name="connsiteY24" fmla="*/ 543791 h 646113"/>
                  <a:gd name="connsiteX25" fmla="*/ 441908 w 454025"/>
                  <a:gd name="connsiteY25" fmla="*/ 544512 h 646113"/>
                  <a:gd name="connsiteX26" fmla="*/ 439057 w 454025"/>
                  <a:gd name="connsiteY26" fmla="*/ 544512 h 646113"/>
                  <a:gd name="connsiteX27" fmla="*/ 121881 w 454025"/>
                  <a:gd name="connsiteY27" fmla="*/ 544512 h 646113"/>
                  <a:gd name="connsiteX28" fmla="*/ 106201 w 454025"/>
                  <a:gd name="connsiteY28" fmla="*/ 544512 h 646113"/>
                  <a:gd name="connsiteX29" fmla="*/ 90520 w 454025"/>
                  <a:gd name="connsiteY29" fmla="*/ 544512 h 646113"/>
                  <a:gd name="connsiteX30" fmla="*/ 15681 w 454025"/>
                  <a:gd name="connsiteY30" fmla="*/ 544512 h 646113"/>
                  <a:gd name="connsiteX31" fmla="*/ 0 w 454025"/>
                  <a:gd name="connsiteY31" fmla="*/ 528637 h 646113"/>
                  <a:gd name="connsiteX32" fmla="*/ 15681 w 454025"/>
                  <a:gd name="connsiteY32" fmla="*/ 512762 h 646113"/>
                  <a:gd name="connsiteX33" fmla="*/ 15681 w 454025"/>
                  <a:gd name="connsiteY33" fmla="*/ 411162 h 646113"/>
                  <a:gd name="connsiteX34" fmla="*/ 90520 w 454025"/>
                  <a:gd name="connsiteY34" fmla="*/ 411162 h 646113"/>
                  <a:gd name="connsiteX35" fmla="*/ 106201 w 454025"/>
                  <a:gd name="connsiteY35" fmla="*/ 411162 h 646113"/>
                  <a:gd name="connsiteX36" fmla="*/ 121881 w 454025"/>
                  <a:gd name="connsiteY36" fmla="*/ 411162 h 646113"/>
                  <a:gd name="connsiteX37" fmla="*/ 439057 w 454025"/>
                  <a:gd name="connsiteY37" fmla="*/ 411162 h 646113"/>
                  <a:gd name="connsiteX38" fmla="*/ 454025 w 454025"/>
                  <a:gd name="connsiteY38" fmla="*/ 426594 h 646113"/>
                  <a:gd name="connsiteX39" fmla="*/ 439057 w 454025"/>
                  <a:gd name="connsiteY39" fmla="*/ 441325 h 646113"/>
                  <a:gd name="connsiteX40" fmla="*/ 121881 w 454025"/>
                  <a:gd name="connsiteY40" fmla="*/ 441325 h 646113"/>
                  <a:gd name="connsiteX41" fmla="*/ 106201 w 454025"/>
                  <a:gd name="connsiteY41" fmla="*/ 441325 h 646113"/>
                  <a:gd name="connsiteX42" fmla="*/ 90520 w 454025"/>
                  <a:gd name="connsiteY42" fmla="*/ 441325 h 646113"/>
                  <a:gd name="connsiteX43" fmla="*/ 15681 w 454025"/>
                  <a:gd name="connsiteY43" fmla="*/ 441325 h 646113"/>
                  <a:gd name="connsiteX44" fmla="*/ 0 w 454025"/>
                  <a:gd name="connsiteY44" fmla="*/ 426594 h 646113"/>
                  <a:gd name="connsiteX45" fmla="*/ 15681 w 454025"/>
                  <a:gd name="connsiteY45" fmla="*/ 411162 h 646113"/>
                  <a:gd name="connsiteX46" fmla="*/ 15681 w 454025"/>
                  <a:gd name="connsiteY46" fmla="*/ 307975 h 646113"/>
                  <a:gd name="connsiteX47" fmla="*/ 90520 w 454025"/>
                  <a:gd name="connsiteY47" fmla="*/ 307975 h 646113"/>
                  <a:gd name="connsiteX48" fmla="*/ 106201 w 454025"/>
                  <a:gd name="connsiteY48" fmla="*/ 307975 h 646113"/>
                  <a:gd name="connsiteX49" fmla="*/ 121881 w 454025"/>
                  <a:gd name="connsiteY49" fmla="*/ 307975 h 646113"/>
                  <a:gd name="connsiteX50" fmla="*/ 439057 w 454025"/>
                  <a:gd name="connsiteY50" fmla="*/ 307975 h 646113"/>
                  <a:gd name="connsiteX51" fmla="*/ 454025 w 454025"/>
                  <a:gd name="connsiteY51" fmla="*/ 323057 h 646113"/>
                  <a:gd name="connsiteX52" fmla="*/ 439057 w 454025"/>
                  <a:gd name="connsiteY52" fmla="*/ 338138 h 646113"/>
                  <a:gd name="connsiteX53" fmla="*/ 121881 w 454025"/>
                  <a:gd name="connsiteY53" fmla="*/ 338138 h 646113"/>
                  <a:gd name="connsiteX54" fmla="*/ 106201 w 454025"/>
                  <a:gd name="connsiteY54" fmla="*/ 338138 h 646113"/>
                  <a:gd name="connsiteX55" fmla="*/ 90520 w 454025"/>
                  <a:gd name="connsiteY55" fmla="*/ 338138 h 646113"/>
                  <a:gd name="connsiteX56" fmla="*/ 15681 w 454025"/>
                  <a:gd name="connsiteY56" fmla="*/ 338138 h 646113"/>
                  <a:gd name="connsiteX57" fmla="*/ 0 w 454025"/>
                  <a:gd name="connsiteY57" fmla="*/ 323057 h 646113"/>
                  <a:gd name="connsiteX58" fmla="*/ 15681 w 454025"/>
                  <a:gd name="connsiteY58" fmla="*/ 307975 h 646113"/>
                  <a:gd name="connsiteX59" fmla="*/ 15681 w 454025"/>
                  <a:gd name="connsiteY59" fmla="*/ 204787 h 646113"/>
                  <a:gd name="connsiteX60" fmla="*/ 90520 w 454025"/>
                  <a:gd name="connsiteY60" fmla="*/ 204787 h 646113"/>
                  <a:gd name="connsiteX61" fmla="*/ 106201 w 454025"/>
                  <a:gd name="connsiteY61" fmla="*/ 204787 h 646113"/>
                  <a:gd name="connsiteX62" fmla="*/ 121881 w 454025"/>
                  <a:gd name="connsiteY62" fmla="*/ 204787 h 646113"/>
                  <a:gd name="connsiteX63" fmla="*/ 439057 w 454025"/>
                  <a:gd name="connsiteY63" fmla="*/ 204787 h 646113"/>
                  <a:gd name="connsiteX64" fmla="*/ 454025 w 454025"/>
                  <a:gd name="connsiteY64" fmla="*/ 220219 h 646113"/>
                  <a:gd name="connsiteX65" fmla="*/ 439057 w 454025"/>
                  <a:gd name="connsiteY65" fmla="*/ 234950 h 646113"/>
                  <a:gd name="connsiteX66" fmla="*/ 121881 w 454025"/>
                  <a:gd name="connsiteY66" fmla="*/ 234950 h 646113"/>
                  <a:gd name="connsiteX67" fmla="*/ 106201 w 454025"/>
                  <a:gd name="connsiteY67" fmla="*/ 234950 h 646113"/>
                  <a:gd name="connsiteX68" fmla="*/ 90520 w 454025"/>
                  <a:gd name="connsiteY68" fmla="*/ 234950 h 646113"/>
                  <a:gd name="connsiteX69" fmla="*/ 15681 w 454025"/>
                  <a:gd name="connsiteY69" fmla="*/ 234950 h 646113"/>
                  <a:gd name="connsiteX70" fmla="*/ 0 w 454025"/>
                  <a:gd name="connsiteY70" fmla="*/ 220219 h 646113"/>
                  <a:gd name="connsiteX71" fmla="*/ 15681 w 454025"/>
                  <a:gd name="connsiteY71" fmla="*/ 204787 h 646113"/>
                  <a:gd name="connsiteX72" fmla="*/ 15681 w 454025"/>
                  <a:gd name="connsiteY72" fmla="*/ 101600 h 646113"/>
                  <a:gd name="connsiteX73" fmla="*/ 90520 w 454025"/>
                  <a:gd name="connsiteY73" fmla="*/ 101600 h 646113"/>
                  <a:gd name="connsiteX74" fmla="*/ 106201 w 454025"/>
                  <a:gd name="connsiteY74" fmla="*/ 101600 h 646113"/>
                  <a:gd name="connsiteX75" fmla="*/ 121881 w 454025"/>
                  <a:gd name="connsiteY75" fmla="*/ 101600 h 646113"/>
                  <a:gd name="connsiteX76" fmla="*/ 439057 w 454025"/>
                  <a:gd name="connsiteY76" fmla="*/ 101600 h 646113"/>
                  <a:gd name="connsiteX77" fmla="*/ 454025 w 454025"/>
                  <a:gd name="connsiteY77" fmla="*/ 117475 h 646113"/>
                  <a:gd name="connsiteX78" fmla="*/ 439057 w 454025"/>
                  <a:gd name="connsiteY78" fmla="*/ 133350 h 646113"/>
                  <a:gd name="connsiteX79" fmla="*/ 121881 w 454025"/>
                  <a:gd name="connsiteY79" fmla="*/ 133350 h 646113"/>
                  <a:gd name="connsiteX80" fmla="*/ 106201 w 454025"/>
                  <a:gd name="connsiteY80" fmla="*/ 133350 h 646113"/>
                  <a:gd name="connsiteX81" fmla="*/ 90520 w 454025"/>
                  <a:gd name="connsiteY81" fmla="*/ 133350 h 646113"/>
                  <a:gd name="connsiteX82" fmla="*/ 15681 w 454025"/>
                  <a:gd name="connsiteY82" fmla="*/ 133350 h 646113"/>
                  <a:gd name="connsiteX83" fmla="*/ 0 w 454025"/>
                  <a:gd name="connsiteY83" fmla="*/ 117475 h 646113"/>
                  <a:gd name="connsiteX84" fmla="*/ 15681 w 454025"/>
                  <a:gd name="connsiteY84" fmla="*/ 101600 h 646113"/>
                  <a:gd name="connsiteX85" fmla="*/ 15681 w 454025"/>
                  <a:gd name="connsiteY85" fmla="*/ 0 h 646113"/>
                  <a:gd name="connsiteX86" fmla="*/ 90520 w 454025"/>
                  <a:gd name="connsiteY86" fmla="*/ 0 h 646113"/>
                  <a:gd name="connsiteX87" fmla="*/ 106201 w 454025"/>
                  <a:gd name="connsiteY87" fmla="*/ 0 h 646113"/>
                  <a:gd name="connsiteX88" fmla="*/ 121881 w 454025"/>
                  <a:gd name="connsiteY88" fmla="*/ 0 h 646113"/>
                  <a:gd name="connsiteX89" fmla="*/ 439057 w 454025"/>
                  <a:gd name="connsiteY89" fmla="*/ 0 h 646113"/>
                  <a:gd name="connsiteX90" fmla="*/ 454025 w 454025"/>
                  <a:gd name="connsiteY90" fmla="*/ 15432 h 646113"/>
                  <a:gd name="connsiteX91" fmla="*/ 439057 w 454025"/>
                  <a:gd name="connsiteY91" fmla="*/ 30163 h 646113"/>
                  <a:gd name="connsiteX92" fmla="*/ 121881 w 454025"/>
                  <a:gd name="connsiteY92" fmla="*/ 30163 h 646113"/>
                  <a:gd name="connsiteX93" fmla="*/ 106201 w 454025"/>
                  <a:gd name="connsiteY93" fmla="*/ 30163 h 646113"/>
                  <a:gd name="connsiteX94" fmla="*/ 90520 w 454025"/>
                  <a:gd name="connsiteY94" fmla="*/ 30163 h 646113"/>
                  <a:gd name="connsiteX95" fmla="*/ 15681 w 454025"/>
                  <a:gd name="connsiteY95" fmla="*/ 30163 h 646113"/>
                  <a:gd name="connsiteX96" fmla="*/ 0 w 454025"/>
                  <a:gd name="connsiteY96" fmla="*/ 15432 h 646113"/>
                  <a:gd name="connsiteX97" fmla="*/ 15681 w 454025"/>
                  <a:gd name="connsiteY97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454025" h="646113">
                    <a:moveTo>
                      <a:pt x="15681" y="615950"/>
                    </a:moveTo>
                    <a:cubicBezTo>
                      <a:pt x="42766" y="615950"/>
                      <a:pt x="67712" y="615950"/>
                      <a:pt x="91233" y="615950"/>
                    </a:cubicBezTo>
                    <a:cubicBezTo>
                      <a:pt x="439057" y="615950"/>
                      <a:pt x="439057" y="615950"/>
                      <a:pt x="439057" y="615950"/>
                    </a:cubicBezTo>
                    <a:cubicBezTo>
                      <a:pt x="446185" y="615950"/>
                      <a:pt x="451887" y="620159"/>
                      <a:pt x="453312" y="626472"/>
                    </a:cubicBezTo>
                    <a:cubicBezTo>
                      <a:pt x="454025" y="627875"/>
                      <a:pt x="454025" y="629278"/>
                      <a:pt x="454025" y="631382"/>
                    </a:cubicBezTo>
                    <a:cubicBezTo>
                      <a:pt x="454025" y="632084"/>
                      <a:pt x="454025" y="632084"/>
                      <a:pt x="454025" y="632785"/>
                    </a:cubicBezTo>
                    <a:cubicBezTo>
                      <a:pt x="453312" y="638397"/>
                      <a:pt x="449749" y="643307"/>
                      <a:pt x="444047" y="645412"/>
                    </a:cubicBezTo>
                    <a:cubicBezTo>
                      <a:pt x="444047" y="645412"/>
                      <a:pt x="443334" y="646113"/>
                      <a:pt x="442621" y="646113"/>
                    </a:cubicBezTo>
                    <a:cubicBezTo>
                      <a:pt x="442621" y="646113"/>
                      <a:pt x="441908" y="646113"/>
                      <a:pt x="441908" y="646113"/>
                    </a:cubicBezTo>
                    <a:cubicBezTo>
                      <a:pt x="441196" y="646113"/>
                      <a:pt x="439770" y="646113"/>
                      <a:pt x="439057" y="646113"/>
                    </a:cubicBezTo>
                    <a:cubicBezTo>
                      <a:pt x="15681" y="646113"/>
                      <a:pt x="15681" y="646113"/>
                      <a:pt x="15681" y="646113"/>
                    </a:cubicBezTo>
                    <a:cubicBezTo>
                      <a:pt x="15681" y="646113"/>
                      <a:pt x="14968" y="646113"/>
                      <a:pt x="14968" y="646113"/>
                    </a:cubicBezTo>
                    <a:cubicBezTo>
                      <a:pt x="7128" y="646113"/>
                      <a:pt x="713" y="639800"/>
                      <a:pt x="0" y="631382"/>
                    </a:cubicBezTo>
                    <a:cubicBezTo>
                      <a:pt x="0" y="622965"/>
                      <a:pt x="7128" y="615950"/>
                      <a:pt x="15681" y="615950"/>
                    </a:cubicBezTo>
                    <a:close/>
                    <a:moveTo>
                      <a:pt x="15681" y="512762"/>
                    </a:moveTo>
                    <a:cubicBezTo>
                      <a:pt x="42053" y="512762"/>
                      <a:pt x="67712" y="512762"/>
                      <a:pt x="90520" y="512762"/>
                    </a:cubicBezTo>
                    <a:cubicBezTo>
                      <a:pt x="96222" y="512762"/>
                      <a:pt x="101211" y="512762"/>
                      <a:pt x="106201" y="512762"/>
                    </a:cubicBezTo>
                    <a:cubicBezTo>
                      <a:pt x="111903" y="512762"/>
                      <a:pt x="116892" y="512762"/>
                      <a:pt x="121881" y="512762"/>
                    </a:cubicBezTo>
                    <a:cubicBezTo>
                      <a:pt x="439057" y="512762"/>
                      <a:pt x="439057" y="512762"/>
                      <a:pt x="439057" y="512762"/>
                    </a:cubicBezTo>
                    <a:cubicBezTo>
                      <a:pt x="447610" y="512762"/>
                      <a:pt x="454025" y="519978"/>
                      <a:pt x="454025" y="528637"/>
                    </a:cubicBezTo>
                    <a:cubicBezTo>
                      <a:pt x="454025" y="530080"/>
                      <a:pt x="454025" y="530802"/>
                      <a:pt x="454025" y="531523"/>
                    </a:cubicBezTo>
                    <a:cubicBezTo>
                      <a:pt x="454025" y="532245"/>
                      <a:pt x="454025" y="532967"/>
                      <a:pt x="453312" y="532967"/>
                    </a:cubicBezTo>
                    <a:cubicBezTo>
                      <a:pt x="453312" y="533688"/>
                      <a:pt x="453312" y="533688"/>
                      <a:pt x="453312" y="533688"/>
                    </a:cubicBezTo>
                    <a:cubicBezTo>
                      <a:pt x="451887" y="538739"/>
                      <a:pt x="449036" y="542347"/>
                      <a:pt x="444047" y="543791"/>
                    </a:cubicBezTo>
                    <a:cubicBezTo>
                      <a:pt x="443334" y="543791"/>
                      <a:pt x="443334" y="543791"/>
                      <a:pt x="443334" y="543791"/>
                    </a:cubicBezTo>
                    <a:cubicBezTo>
                      <a:pt x="442621" y="543791"/>
                      <a:pt x="441908" y="543791"/>
                      <a:pt x="441908" y="544512"/>
                    </a:cubicBezTo>
                    <a:cubicBezTo>
                      <a:pt x="440483" y="544512"/>
                      <a:pt x="439770" y="544512"/>
                      <a:pt x="439057" y="544512"/>
                    </a:cubicBezTo>
                    <a:cubicBezTo>
                      <a:pt x="282964" y="544512"/>
                      <a:pt x="184604" y="544512"/>
                      <a:pt x="121881" y="544512"/>
                    </a:cubicBezTo>
                    <a:cubicBezTo>
                      <a:pt x="116892" y="544512"/>
                      <a:pt x="111190" y="544512"/>
                      <a:pt x="106201" y="544512"/>
                    </a:cubicBezTo>
                    <a:cubicBezTo>
                      <a:pt x="101211" y="544512"/>
                      <a:pt x="95509" y="544512"/>
                      <a:pt x="90520" y="544512"/>
                    </a:cubicBezTo>
                    <a:cubicBezTo>
                      <a:pt x="15681" y="544512"/>
                      <a:pt x="15681" y="544512"/>
                      <a:pt x="15681" y="544512"/>
                    </a:cubicBezTo>
                    <a:cubicBezTo>
                      <a:pt x="7128" y="544512"/>
                      <a:pt x="0" y="538018"/>
                      <a:pt x="0" y="528637"/>
                    </a:cubicBezTo>
                    <a:cubicBezTo>
                      <a:pt x="0" y="519978"/>
                      <a:pt x="7128" y="512762"/>
                      <a:pt x="15681" y="512762"/>
                    </a:cubicBezTo>
                    <a:close/>
                    <a:moveTo>
                      <a:pt x="15681" y="411162"/>
                    </a:moveTo>
                    <a:cubicBezTo>
                      <a:pt x="42053" y="411162"/>
                      <a:pt x="67712" y="411162"/>
                      <a:pt x="90520" y="411162"/>
                    </a:cubicBezTo>
                    <a:cubicBezTo>
                      <a:pt x="96222" y="411162"/>
                      <a:pt x="101211" y="411162"/>
                      <a:pt x="106201" y="411162"/>
                    </a:cubicBezTo>
                    <a:cubicBezTo>
                      <a:pt x="111903" y="411162"/>
                      <a:pt x="116892" y="411162"/>
                      <a:pt x="121881" y="411162"/>
                    </a:cubicBezTo>
                    <a:cubicBezTo>
                      <a:pt x="439057" y="411162"/>
                      <a:pt x="439057" y="411162"/>
                      <a:pt x="439057" y="411162"/>
                    </a:cubicBezTo>
                    <a:cubicBezTo>
                      <a:pt x="447610" y="411162"/>
                      <a:pt x="454025" y="418177"/>
                      <a:pt x="454025" y="426594"/>
                    </a:cubicBezTo>
                    <a:cubicBezTo>
                      <a:pt x="454025" y="435012"/>
                      <a:pt x="447610" y="441325"/>
                      <a:pt x="439057" y="441325"/>
                    </a:cubicBezTo>
                    <a:cubicBezTo>
                      <a:pt x="282964" y="441325"/>
                      <a:pt x="184604" y="441325"/>
                      <a:pt x="121881" y="441325"/>
                    </a:cubicBezTo>
                    <a:cubicBezTo>
                      <a:pt x="116892" y="441325"/>
                      <a:pt x="111190" y="441325"/>
                      <a:pt x="106201" y="441325"/>
                    </a:cubicBezTo>
                    <a:cubicBezTo>
                      <a:pt x="101211" y="441325"/>
                      <a:pt x="95509" y="441325"/>
                      <a:pt x="90520" y="441325"/>
                    </a:cubicBezTo>
                    <a:cubicBezTo>
                      <a:pt x="15681" y="441325"/>
                      <a:pt x="15681" y="441325"/>
                      <a:pt x="15681" y="441325"/>
                    </a:cubicBezTo>
                    <a:cubicBezTo>
                      <a:pt x="7128" y="441325"/>
                      <a:pt x="0" y="435012"/>
                      <a:pt x="0" y="426594"/>
                    </a:cubicBezTo>
                    <a:cubicBezTo>
                      <a:pt x="0" y="418177"/>
                      <a:pt x="7128" y="411162"/>
                      <a:pt x="15681" y="411162"/>
                    </a:cubicBezTo>
                    <a:close/>
                    <a:moveTo>
                      <a:pt x="15681" y="307975"/>
                    </a:moveTo>
                    <a:cubicBezTo>
                      <a:pt x="42053" y="307975"/>
                      <a:pt x="67712" y="307975"/>
                      <a:pt x="90520" y="307975"/>
                    </a:cubicBezTo>
                    <a:cubicBezTo>
                      <a:pt x="96222" y="307975"/>
                      <a:pt x="101211" y="307975"/>
                      <a:pt x="106201" y="307975"/>
                    </a:cubicBezTo>
                    <a:cubicBezTo>
                      <a:pt x="111903" y="307975"/>
                      <a:pt x="116892" y="307975"/>
                      <a:pt x="121881" y="307975"/>
                    </a:cubicBezTo>
                    <a:cubicBezTo>
                      <a:pt x="439057" y="307975"/>
                      <a:pt x="439057" y="307975"/>
                      <a:pt x="439057" y="307975"/>
                    </a:cubicBezTo>
                    <a:cubicBezTo>
                      <a:pt x="447610" y="307975"/>
                      <a:pt x="454025" y="315157"/>
                      <a:pt x="454025" y="323057"/>
                    </a:cubicBezTo>
                    <a:cubicBezTo>
                      <a:pt x="454025" y="330956"/>
                      <a:pt x="447610" y="338138"/>
                      <a:pt x="439057" y="338138"/>
                    </a:cubicBezTo>
                    <a:cubicBezTo>
                      <a:pt x="282964" y="338138"/>
                      <a:pt x="184604" y="338138"/>
                      <a:pt x="121881" y="338138"/>
                    </a:cubicBezTo>
                    <a:cubicBezTo>
                      <a:pt x="116892" y="338138"/>
                      <a:pt x="111190" y="338138"/>
                      <a:pt x="106201" y="338138"/>
                    </a:cubicBezTo>
                    <a:cubicBezTo>
                      <a:pt x="101211" y="338138"/>
                      <a:pt x="95509" y="338138"/>
                      <a:pt x="90520" y="338138"/>
                    </a:cubicBezTo>
                    <a:cubicBezTo>
                      <a:pt x="15681" y="338138"/>
                      <a:pt x="15681" y="338138"/>
                      <a:pt x="15681" y="338138"/>
                    </a:cubicBezTo>
                    <a:cubicBezTo>
                      <a:pt x="7128" y="338138"/>
                      <a:pt x="0" y="330956"/>
                      <a:pt x="0" y="323057"/>
                    </a:cubicBezTo>
                    <a:cubicBezTo>
                      <a:pt x="0" y="315157"/>
                      <a:pt x="7128" y="307975"/>
                      <a:pt x="15681" y="307975"/>
                    </a:cubicBezTo>
                    <a:close/>
                    <a:moveTo>
                      <a:pt x="15681" y="204787"/>
                    </a:moveTo>
                    <a:cubicBezTo>
                      <a:pt x="42053" y="204787"/>
                      <a:pt x="67712" y="204787"/>
                      <a:pt x="90520" y="204787"/>
                    </a:cubicBezTo>
                    <a:cubicBezTo>
                      <a:pt x="96222" y="204787"/>
                      <a:pt x="101211" y="204787"/>
                      <a:pt x="106201" y="204787"/>
                    </a:cubicBezTo>
                    <a:cubicBezTo>
                      <a:pt x="111903" y="204787"/>
                      <a:pt x="116892" y="204787"/>
                      <a:pt x="121881" y="204787"/>
                    </a:cubicBezTo>
                    <a:cubicBezTo>
                      <a:pt x="439057" y="204787"/>
                      <a:pt x="439057" y="204787"/>
                      <a:pt x="439057" y="204787"/>
                    </a:cubicBezTo>
                    <a:cubicBezTo>
                      <a:pt x="447610" y="204787"/>
                      <a:pt x="454025" y="211802"/>
                      <a:pt x="454025" y="220219"/>
                    </a:cubicBezTo>
                    <a:cubicBezTo>
                      <a:pt x="454025" y="227935"/>
                      <a:pt x="447610" y="234950"/>
                      <a:pt x="439057" y="234950"/>
                    </a:cubicBezTo>
                    <a:cubicBezTo>
                      <a:pt x="282964" y="234950"/>
                      <a:pt x="184604" y="234950"/>
                      <a:pt x="121881" y="234950"/>
                    </a:cubicBezTo>
                    <a:cubicBezTo>
                      <a:pt x="116892" y="234950"/>
                      <a:pt x="111190" y="234950"/>
                      <a:pt x="106201" y="234950"/>
                    </a:cubicBezTo>
                    <a:cubicBezTo>
                      <a:pt x="101211" y="234950"/>
                      <a:pt x="95509" y="234950"/>
                      <a:pt x="90520" y="234950"/>
                    </a:cubicBezTo>
                    <a:cubicBezTo>
                      <a:pt x="15681" y="234950"/>
                      <a:pt x="15681" y="234950"/>
                      <a:pt x="15681" y="234950"/>
                    </a:cubicBezTo>
                    <a:cubicBezTo>
                      <a:pt x="7128" y="234950"/>
                      <a:pt x="0" y="227935"/>
                      <a:pt x="0" y="220219"/>
                    </a:cubicBezTo>
                    <a:cubicBezTo>
                      <a:pt x="0" y="211802"/>
                      <a:pt x="7128" y="204787"/>
                      <a:pt x="15681" y="204787"/>
                    </a:cubicBezTo>
                    <a:close/>
                    <a:moveTo>
                      <a:pt x="15681" y="101600"/>
                    </a:moveTo>
                    <a:cubicBezTo>
                      <a:pt x="42053" y="101600"/>
                      <a:pt x="67712" y="101600"/>
                      <a:pt x="90520" y="101600"/>
                    </a:cubicBezTo>
                    <a:cubicBezTo>
                      <a:pt x="96222" y="101600"/>
                      <a:pt x="101211" y="101600"/>
                      <a:pt x="106201" y="101600"/>
                    </a:cubicBezTo>
                    <a:cubicBezTo>
                      <a:pt x="111903" y="101600"/>
                      <a:pt x="116892" y="101600"/>
                      <a:pt x="121881" y="101600"/>
                    </a:cubicBezTo>
                    <a:cubicBezTo>
                      <a:pt x="439057" y="101600"/>
                      <a:pt x="439057" y="101600"/>
                      <a:pt x="439057" y="101600"/>
                    </a:cubicBezTo>
                    <a:cubicBezTo>
                      <a:pt x="447610" y="101600"/>
                      <a:pt x="454025" y="108816"/>
                      <a:pt x="454025" y="117475"/>
                    </a:cubicBezTo>
                    <a:cubicBezTo>
                      <a:pt x="454025" y="126134"/>
                      <a:pt x="447610" y="133350"/>
                      <a:pt x="439057" y="133350"/>
                    </a:cubicBezTo>
                    <a:cubicBezTo>
                      <a:pt x="282964" y="133350"/>
                      <a:pt x="184604" y="133350"/>
                      <a:pt x="121881" y="133350"/>
                    </a:cubicBezTo>
                    <a:cubicBezTo>
                      <a:pt x="116892" y="133350"/>
                      <a:pt x="111190" y="133350"/>
                      <a:pt x="106201" y="133350"/>
                    </a:cubicBezTo>
                    <a:cubicBezTo>
                      <a:pt x="101211" y="133350"/>
                      <a:pt x="95509" y="133350"/>
                      <a:pt x="90520" y="133350"/>
                    </a:cubicBezTo>
                    <a:cubicBezTo>
                      <a:pt x="15681" y="133350"/>
                      <a:pt x="15681" y="133350"/>
                      <a:pt x="15681" y="133350"/>
                    </a:cubicBezTo>
                    <a:cubicBezTo>
                      <a:pt x="7128" y="133350"/>
                      <a:pt x="0" y="126134"/>
                      <a:pt x="0" y="117475"/>
                    </a:cubicBezTo>
                    <a:cubicBezTo>
                      <a:pt x="0" y="108816"/>
                      <a:pt x="7128" y="101600"/>
                      <a:pt x="15681" y="101600"/>
                    </a:cubicBezTo>
                    <a:close/>
                    <a:moveTo>
                      <a:pt x="15681" y="0"/>
                    </a:moveTo>
                    <a:cubicBezTo>
                      <a:pt x="42053" y="0"/>
                      <a:pt x="67712" y="0"/>
                      <a:pt x="90520" y="0"/>
                    </a:cubicBezTo>
                    <a:cubicBezTo>
                      <a:pt x="96222" y="0"/>
                      <a:pt x="101211" y="0"/>
                      <a:pt x="106201" y="0"/>
                    </a:cubicBezTo>
                    <a:cubicBezTo>
                      <a:pt x="111903" y="0"/>
                      <a:pt x="116892" y="0"/>
                      <a:pt x="121881" y="0"/>
                    </a:cubicBezTo>
                    <a:cubicBezTo>
                      <a:pt x="439057" y="0"/>
                      <a:pt x="439057" y="0"/>
                      <a:pt x="439057" y="0"/>
                    </a:cubicBezTo>
                    <a:cubicBezTo>
                      <a:pt x="447610" y="0"/>
                      <a:pt x="454025" y="6313"/>
                      <a:pt x="454025" y="15432"/>
                    </a:cubicBezTo>
                    <a:cubicBezTo>
                      <a:pt x="454025" y="23148"/>
                      <a:pt x="447610" y="30163"/>
                      <a:pt x="439057" y="30163"/>
                    </a:cubicBezTo>
                    <a:cubicBezTo>
                      <a:pt x="282964" y="30163"/>
                      <a:pt x="184604" y="30163"/>
                      <a:pt x="121881" y="30163"/>
                    </a:cubicBezTo>
                    <a:cubicBezTo>
                      <a:pt x="116892" y="30163"/>
                      <a:pt x="111190" y="30163"/>
                      <a:pt x="106201" y="30163"/>
                    </a:cubicBezTo>
                    <a:cubicBezTo>
                      <a:pt x="101211" y="30163"/>
                      <a:pt x="95509" y="30163"/>
                      <a:pt x="90520" y="30163"/>
                    </a:cubicBezTo>
                    <a:cubicBezTo>
                      <a:pt x="15681" y="30163"/>
                      <a:pt x="15681" y="30163"/>
                      <a:pt x="15681" y="30163"/>
                    </a:cubicBezTo>
                    <a:cubicBezTo>
                      <a:pt x="7128" y="30163"/>
                      <a:pt x="0" y="23148"/>
                      <a:pt x="0" y="15432"/>
                    </a:cubicBezTo>
                    <a:cubicBezTo>
                      <a:pt x="0" y="6313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46" name="ee4pFootnotes">
            <a:extLst>
              <a:ext uri="{FF2B5EF4-FFF2-40B4-BE49-F238E27FC236}">
                <a16:creationId xmlns:a16="http://schemas.microsoft.com/office/drawing/2014/main" id="{F5320272-E304-4025-A001-F089E7E2D8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261" y="6195052"/>
            <a:ext cx="11615045" cy="415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La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acun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actualment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isponibl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n lo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tad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Unid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n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han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id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proba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n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mujer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mbaraza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Po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l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tant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, no hay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at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tadístic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pecífic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eguridad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para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u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us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urant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l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mbaraz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important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onversa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con un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médic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n tale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as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, y s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eb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apoya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la decision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l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persona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qu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ecidan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n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poners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acuna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e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l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R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ecomendacion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 de ACOG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(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olegi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Americano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Obstetric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y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Ginecólog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). Fuentes: Centro para el control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nfermedad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- CDC,  "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Resumen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ambi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recient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"  https://www.cdc.gov/coronavirus/2019-ncov/need-extra-precautions/people-with-medical-conditions.html</a:t>
            </a:r>
          </a:p>
        </p:txBody>
      </p:sp>
    </p:spTree>
    <p:extLst>
      <p:ext uri="{BB962C8B-B14F-4D97-AF65-F5344CB8AC3E}">
        <p14:creationId xmlns:p14="http://schemas.microsoft.com/office/powerpoint/2010/main" val="71828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7190F1-3F98-414F-91BC-83E7EFCC1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45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7190F1-3F98-414F-91BC-83E7EFCC1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AEE29D-DA7A-4450-BDD1-9B75A94386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0" r="30290"/>
          <a:stretch>
            <a:fillRect/>
          </a:stretch>
        </p:blipFill>
        <p:spPr>
          <a:xfrm>
            <a:off x="1" y="0"/>
            <a:ext cx="4079806" cy="6858000"/>
          </a:xfrm>
          <a:custGeom>
            <a:avLst/>
            <a:gdLst>
              <a:gd name="connsiteX0" fmla="*/ 0 w 4055165"/>
              <a:gd name="connsiteY0" fmla="*/ 0 h 6858000"/>
              <a:gd name="connsiteX1" fmla="*/ 4055165 w 4055165"/>
              <a:gd name="connsiteY1" fmla="*/ 0 h 6858000"/>
              <a:gd name="connsiteX2" fmla="*/ 4055165 w 4055165"/>
              <a:gd name="connsiteY2" fmla="*/ 6858000 h 6858000"/>
              <a:gd name="connsiteX3" fmla="*/ 0 w 405516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5165" h="6858000">
                <a:moveTo>
                  <a:pt x="0" y="0"/>
                </a:moveTo>
                <a:lnTo>
                  <a:pt x="4055165" y="0"/>
                </a:lnTo>
                <a:lnTo>
                  <a:pt x="405516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GradientOverlay"/>
          <p:cNvSpPr/>
          <p:nvPr>
            <p:custDataLst>
              <p:tags r:id="rId4"/>
            </p:custDataLst>
          </p:nvPr>
        </p:nvSpPr>
        <p:spPr>
          <a:xfrm>
            <a:off x="1" y="0"/>
            <a:ext cx="4079806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bg1"/>
              </a:solidFill>
              <a:latin typeface="+mj-lt"/>
              <a:sym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680A86-0204-40E7-92EA-FDB7D70895B9}"/>
              </a:ext>
            </a:extLst>
          </p:cNvPr>
          <p:cNvSpPr txBox="1"/>
          <p:nvPr/>
        </p:nvSpPr>
        <p:spPr>
          <a:xfrm>
            <a:off x="5189140" y="204603"/>
            <a:ext cx="6525785" cy="14619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E" sz="1400" b="1" dirty="0">
                <a:solidFill>
                  <a:srgbClr val="051934"/>
                </a:solidFill>
                <a:latin typeface="Calibri" panose="020F0502020204030204" pitchFamily="34" charset="0"/>
              </a:rPr>
              <a:t>Acerca de este documento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A medida que las vacunas contra COVID-19 se aprueban por la FDA, el gobierno federal proporciona semanalmente dosis limitadas de vacunas a los estados. 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El Departamento de Salud y Medio Ambiente de Kansas (KDHE) ha creado una lista de poblaciones distribuidas a lo largo de 5 fases, para priorizar la vacunación 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Este documento expone el plan actual de prioridad de vacunación de Kansas y brinda definiciones más detalladas acerca de los segmentos de población identificados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680A86-0204-40E7-92EA-FDB7D70895B9}"/>
              </a:ext>
            </a:extLst>
          </p:cNvPr>
          <p:cNvSpPr txBox="1"/>
          <p:nvPr/>
        </p:nvSpPr>
        <p:spPr>
          <a:xfrm>
            <a:off x="5189140" y="1818038"/>
            <a:ext cx="6892269" cy="244990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E" sz="1400" b="1" dirty="0">
                <a:solidFill>
                  <a:srgbClr val="051934"/>
                </a:solidFill>
                <a:latin typeface="Calibri" panose="020F0502020204030204" pitchFamily="34" charset="0"/>
              </a:rPr>
              <a:t>Nuestra metodología</a:t>
            </a:r>
            <a:endParaRPr lang="es-PE" sz="1350" b="1" dirty="0">
              <a:solidFill>
                <a:srgbClr val="051934"/>
              </a:solidFill>
              <a:latin typeface="Calibri" panose="020F0502020204030204" pitchFamily="34" charset="0"/>
            </a:endParaRP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Para desarrollar las fases de este plan, hemos segmentado y priorizado la población de Kansas, basándonos en el riesgo a la salud pública y la importancia crítica de la infraestructura del estado.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Durante todo el proceso, hemos usado una óptica de equidad en nuestra priorización, para asegurar la inclusión de comunidades social y médicamente vulnerables.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La gobernadora y el KDHE contaron con la participación de un comité consultivo independiente para revisar y co-desarrollar estas fases, asegurando así una amplitud de opiniones. 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También nos hemos apoyado en la experta opinión y recomendaciones de CDC y ACIP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El medio ambiente de COVID-19 es dinámico y por lo tanto seguiremos adaptando estas fases y grupos de prioridad a medida que aprendamos más acerca de la situación de la enfermedad en Kansas y en todo el paí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680A86-0204-40E7-92EA-FDB7D70895B9}"/>
              </a:ext>
            </a:extLst>
          </p:cNvPr>
          <p:cNvSpPr txBox="1"/>
          <p:nvPr/>
        </p:nvSpPr>
        <p:spPr>
          <a:xfrm>
            <a:off x="5189140" y="4477918"/>
            <a:ext cx="6525785" cy="224676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E" sz="1400" b="1" dirty="0">
                <a:solidFill>
                  <a:srgbClr val="051934"/>
                </a:solidFill>
                <a:latin typeface="Calibri" panose="020F0502020204030204" pitchFamily="34" charset="0"/>
              </a:rPr>
              <a:t>Cómo haremos operativas estas fases 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El KDHE mantendrá un enfoque flexible para moverse a través de las fases, priorizando la vacunación de las poblaciones de la fase en curso y maximizando la velocidad, bajo las restricciones de abastecimiento federal. 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Estamos contando con la participación de los departamento de salud locales, proveedores (hospitales, clínicas, farmacias) etc. en todo el estado para distribuir y administrar (colocar) la vacuna. 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320" dirty="0">
                <a:solidFill>
                  <a:srgbClr val="000000"/>
                </a:solidFill>
                <a:latin typeface="Calibri" panose="020F0502020204030204" pitchFamily="34" charset="0"/>
              </a:rPr>
              <a:t>Aseguraremos equidad durante el proceso de distribución de la vacuna, por ejemplo priorizar a los proveedores, tales como las clínicas de la red de seguridad en comunidades vulnerables y una divulgación y comunicación proactiva a todos aquellos en las comunidades en riesgo.</a:t>
            </a:r>
          </a:p>
        </p:txBody>
      </p:sp>
      <p:sp>
        <p:nvSpPr>
          <p:cNvPr id="12" name="GradientOverlay"/>
          <p:cNvSpPr/>
          <p:nvPr>
            <p:custDataLst>
              <p:tags r:id="rId5"/>
            </p:custDataLst>
          </p:nvPr>
        </p:nvSpPr>
        <p:spPr>
          <a:xfrm>
            <a:off x="1" y="2681103"/>
            <a:ext cx="4079806" cy="1495794"/>
          </a:xfrm>
          <a:prstGeom prst="rect">
            <a:avLst/>
          </a:prstGeom>
          <a:solidFill>
            <a:srgbClr val="000000">
              <a:alpha val="68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bg1"/>
              </a:solidFill>
              <a:latin typeface="+mj-lt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1661B-E31D-4621-874D-696BF7E66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202" y="2681103"/>
            <a:ext cx="3469403" cy="1495794"/>
          </a:xfrm>
        </p:spPr>
        <p:txBody>
          <a:bodyPr/>
          <a:lstStyle/>
          <a:p>
            <a:pPr algn="ctr"/>
            <a:r>
              <a:rPr lang="en-US" dirty="0" err="1"/>
              <a:t>Fases</a:t>
            </a:r>
            <a:r>
              <a:rPr lang="en-US" dirty="0"/>
              <a:t> de </a:t>
            </a:r>
            <a:r>
              <a:rPr lang="en-US" dirty="0" err="1"/>
              <a:t>vacunación</a:t>
            </a:r>
            <a:r>
              <a:rPr lang="en-US" dirty="0"/>
              <a:t> contra el COVID-19 en Kansas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4222207" y="1811540"/>
            <a:ext cx="7492718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4222207" y="4403361"/>
            <a:ext cx="7492719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4222207" y="576870"/>
            <a:ext cx="763571" cy="763571"/>
            <a:chOff x="4222207" y="807703"/>
            <a:chExt cx="763571" cy="763571"/>
          </a:xfrm>
        </p:grpSpPr>
        <p:sp>
          <p:nvSpPr>
            <p:cNvPr id="22" name="Oval 21"/>
            <p:cNvSpPr/>
            <p:nvPr/>
          </p:nvSpPr>
          <p:spPr>
            <a:xfrm>
              <a:off x="4222207" y="807703"/>
              <a:ext cx="763571" cy="763571"/>
            </a:xfrm>
            <a:prstGeom prst="ellipse">
              <a:avLst/>
            </a:prstGeom>
            <a:grpFill/>
            <a:ln w="19050" cap="flat" cmpd="sng" algn="ctr">
              <a:gradFill flip="none" rotWithShape="1">
                <a:gsLst>
                  <a:gs pos="0">
                    <a:srgbClr val="051934"/>
                  </a:gs>
                  <a:gs pos="100000">
                    <a:srgbClr val="0A3774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32" name="Group 31"/>
            <p:cNvGrpSpPr>
              <a:grpSpLocks noChangeAspect="1"/>
            </p:cNvGrpSpPr>
            <p:nvPr/>
          </p:nvGrpSpPr>
          <p:grpSpPr>
            <a:xfrm>
              <a:off x="4341604" y="927100"/>
              <a:ext cx="524776" cy="524776"/>
              <a:chOff x="5272088" y="2605088"/>
              <a:chExt cx="1646237" cy="1646237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2088" y="2605088"/>
                <a:ext cx="1646237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5545138" y="2887663"/>
                <a:ext cx="1100137" cy="1192212"/>
                <a:chOff x="5545138" y="2887663"/>
                <a:chExt cx="1100137" cy="1192212"/>
              </a:xfrm>
            </p:grpSpPr>
            <p:sp>
              <p:nvSpPr>
                <p:cNvPr id="35" name="Freeform 34"/>
                <p:cNvSpPr>
                  <a:spLocks/>
                </p:cNvSpPr>
                <p:nvPr/>
              </p:nvSpPr>
              <p:spPr bwMode="auto">
                <a:xfrm>
                  <a:off x="5545138" y="2887663"/>
                  <a:ext cx="1100137" cy="1192212"/>
                </a:xfrm>
                <a:custGeom>
                  <a:avLst/>
                  <a:gdLst>
                    <a:gd name="connsiteX0" fmla="*/ 31750 w 1100137"/>
                    <a:gd name="connsiteY0" fmla="*/ 280987 h 1192212"/>
                    <a:gd name="connsiteX1" fmla="*/ 31750 w 1100137"/>
                    <a:gd name="connsiteY1" fmla="*/ 1162049 h 1192212"/>
                    <a:gd name="connsiteX2" fmla="*/ 655637 w 1100137"/>
                    <a:gd name="connsiteY2" fmla="*/ 1162049 h 1192212"/>
                    <a:gd name="connsiteX3" fmla="*/ 655637 w 1100137"/>
                    <a:gd name="connsiteY3" fmla="*/ 1068387 h 1192212"/>
                    <a:gd name="connsiteX4" fmla="*/ 655637 w 1100137"/>
                    <a:gd name="connsiteY4" fmla="*/ 1052512 h 1192212"/>
                    <a:gd name="connsiteX5" fmla="*/ 655637 w 1100137"/>
                    <a:gd name="connsiteY5" fmla="*/ 1036637 h 1192212"/>
                    <a:gd name="connsiteX6" fmla="*/ 655637 w 1100137"/>
                    <a:gd name="connsiteY6" fmla="*/ 1025524 h 1192212"/>
                    <a:gd name="connsiteX7" fmla="*/ 655637 w 1100137"/>
                    <a:gd name="connsiteY7" fmla="*/ 1009649 h 1192212"/>
                    <a:gd name="connsiteX8" fmla="*/ 655637 w 1100137"/>
                    <a:gd name="connsiteY8" fmla="*/ 993774 h 1192212"/>
                    <a:gd name="connsiteX9" fmla="*/ 655637 w 1100137"/>
                    <a:gd name="connsiteY9" fmla="*/ 974724 h 1192212"/>
                    <a:gd name="connsiteX10" fmla="*/ 655637 w 1100137"/>
                    <a:gd name="connsiteY10" fmla="*/ 958849 h 1192212"/>
                    <a:gd name="connsiteX11" fmla="*/ 655637 w 1100137"/>
                    <a:gd name="connsiteY11" fmla="*/ 942974 h 1192212"/>
                    <a:gd name="connsiteX12" fmla="*/ 655637 w 1100137"/>
                    <a:gd name="connsiteY12" fmla="*/ 927099 h 1192212"/>
                    <a:gd name="connsiteX13" fmla="*/ 655637 w 1100137"/>
                    <a:gd name="connsiteY13" fmla="*/ 920749 h 1192212"/>
                    <a:gd name="connsiteX14" fmla="*/ 655637 w 1100137"/>
                    <a:gd name="connsiteY14" fmla="*/ 911224 h 1192212"/>
                    <a:gd name="connsiteX15" fmla="*/ 655637 w 1100137"/>
                    <a:gd name="connsiteY15" fmla="*/ 900112 h 1192212"/>
                    <a:gd name="connsiteX16" fmla="*/ 655637 w 1100137"/>
                    <a:gd name="connsiteY16" fmla="*/ 890587 h 1192212"/>
                    <a:gd name="connsiteX17" fmla="*/ 655637 w 1100137"/>
                    <a:gd name="connsiteY17" fmla="*/ 884237 h 1192212"/>
                    <a:gd name="connsiteX18" fmla="*/ 655637 w 1100137"/>
                    <a:gd name="connsiteY18" fmla="*/ 868362 h 1192212"/>
                    <a:gd name="connsiteX19" fmla="*/ 655637 w 1100137"/>
                    <a:gd name="connsiteY19" fmla="*/ 819149 h 1192212"/>
                    <a:gd name="connsiteX20" fmla="*/ 655637 w 1100137"/>
                    <a:gd name="connsiteY20" fmla="*/ 796924 h 1192212"/>
                    <a:gd name="connsiteX21" fmla="*/ 655637 w 1100137"/>
                    <a:gd name="connsiteY21" fmla="*/ 787399 h 1192212"/>
                    <a:gd name="connsiteX22" fmla="*/ 655637 w 1100137"/>
                    <a:gd name="connsiteY22" fmla="*/ 765174 h 1192212"/>
                    <a:gd name="connsiteX23" fmla="*/ 655637 w 1100137"/>
                    <a:gd name="connsiteY23" fmla="*/ 715962 h 1192212"/>
                    <a:gd name="connsiteX24" fmla="*/ 655637 w 1100137"/>
                    <a:gd name="connsiteY24" fmla="*/ 693737 h 1192212"/>
                    <a:gd name="connsiteX25" fmla="*/ 655637 w 1100137"/>
                    <a:gd name="connsiteY25" fmla="*/ 685799 h 1192212"/>
                    <a:gd name="connsiteX26" fmla="*/ 655637 w 1100137"/>
                    <a:gd name="connsiteY26" fmla="*/ 661987 h 1192212"/>
                    <a:gd name="connsiteX27" fmla="*/ 655637 w 1100137"/>
                    <a:gd name="connsiteY27" fmla="*/ 612774 h 1192212"/>
                    <a:gd name="connsiteX28" fmla="*/ 655637 w 1100137"/>
                    <a:gd name="connsiteY28" fmla="*/ 590549 h 1192212"/>
                    <a:gd name="connsiteX29" fmla="*/ 655637 w 1100137"/>
                    <a:gd name="connsiteY29" fmla="*/ 582612 h 1192212"/>
                    <a:gd name="connsiteX30" fmla="*/ 655637 w 1100137"/>
                    <a:gd name="connsiteY30" fmla="*/ 560387 h 1192212"/>
                    <a:gd name="connsiteX31" fmla="*/ 655637 w 1100137"/>
                    <a:gd name="connsiteY31" fmla="*/ 509587 h 1192212"/>
                    <a:gd name="connsiteX32" fmla="*/ 655637 w 1100137"/>
                    <a:gd name="connsiteY32" fmla="*/ 487362 h 1192212"/>
                    <a:gd name="connsiteX33" fmla="*/ 655637 w 1100137"/>
                    <a:gd name="connsiteY33" fmla="*/ 479425 h 1192212"/>
                    <a:gd name="connsiteX34" fmla="*/ 655637 w 1100137"/>
                    <a:gd name="connsiteY34" fmla="*/ 457200 h 1192212"/>
                    <a:gd name="connsiteX35" fmla="*/ 655637 w 1100137"/>
                    <a:gd name="connsiteY35" fmla="*/ 407987 h 1192212"/>
                    <a:gd name="connsiteX36" fmla="*/ 655637 w 1100137"/>
                    <a:gd name="connsiteY36" fmla="*/ 384175 h 1192212"/>
                    <a:gd name="connsiteX37" fmla="*/ 655637 w 1100137"/>
                    <a:gd name="connsiteY37" fmla="*/ 376237 h 1192212"/>
                    <a:gd name="connsiteX38" fmla="*/ 655637 w 1100137"/>
                    <a:gd name="connsiteY38" fmla="*/ 354012 h 1192212"/>
                    <a:gd name="connsiteX39" fmla="*/ 655637 w 1100137"/>
                    <a:gd name="connsiteY39" fmla="*/ 304800 h 1192212"/>
                    <a:gd name="connsiteX40" fmla="*/ 655637 w 1100137"/>
                    <a:gd name="connsiteY40" fmla="*/ 282575 h 1192212"/>
                    <a:gd name="connsiteX41" fmla="*/ 655637 w 1100137"/>
                    <a:gd name="connsiteY41" fmla="*/ 280987 h 1192212"/>
                    <a:gd name="connsiteX42" fmla="*/ 539750 w 1100137"/>
                    <a:gd name="connsiteY42" fmla="*/ 280987 h 1192212"/>
                    <a:gd name="connsiteX43" fmla="*/ 490537 w 1100137"/>
                    <a:gd name="connsiteY43" fmla="*/ 280987 h 1192212"/>
                    <a:gd name="connsiteX44" fmla="*/ 474662 w 1100137"/>
                    <a:gd name="connsiteY44" fmla="*/ 280987 h 1192212"/>
                    <a:gd name="connsiteX45" fmla="*/ 458787 w 1100137"/>
                    <a:gd name="connsiteY45" fmla="*/ 280987 h 1192212"/>
                    <a:gd name="connsiteX46" fmla="*/ 444500 w 1100137"/>
                    <a:gd name="connsiteY46" fmla="*/ 280987 h 1192212"/>
                    <a:gd name="connsiteX47" fmla="*/ 428625 w 1100137"/>
                    <a:gd name="connsiteY47" fmla="*/ 280987 h 1192212"/>
                    <a:gd name="connsiteX48" fmla="*/ 414337 w 1100137"/>
                    <a:gd name="connsiteY48" fmla="*/ 280987 h 1192212"/>
                    <a:gd name="connsiteX49" fmla="*/ 398462 w 1100137"/>
                    <a:gd name="connsiteY49" fmla="*/ 280987 h 1192212"/>
                    <a:gd name="connsiteX50" fmla="*/ 382587 w 1100137"/>
                    <a:gd name="connsiteY50" fmla="*/ 280987 h 1192212"/>
                    <a:gd name="connsiteX51" fmla="*/ 325437 w 1100137"/>
                    <a:gd name="connsiteY51" fmla="*/ 280987 h 1192212"/>
                    <a:gd name="connsiteX52" fmla="*/ 284163 w 1100137"/>
                    <a:gd name="connsiteY52" fmla="*/ 280987 h 1192212"/>
                    <a:gd name="connsiteX53" fmla="*/ 268288 w 1100137"/>
                    <a:gd name="connsiteY53" fmla="*/ 280987 h 1192212"/>
                    <a:gd name="connsiteX54" fmla="*/ 252413 w 1100137"/>
                    <a:gd name="connsiteY54" fmla="*/ 280987 h 1192212"/>
                    <a:gd name="connsiteX55" fmla="*/ 238125 w 1100137"/>
                    <a:gd name="connsiteY55" fmla="*/ 280987 h 1192212"/>
                    <a:gd name="connsiteX56" fmla="*/ 222250 w 1100137"/>
                    <a:gd name="connsiteY56" fmla="*/ 280987 h 1192212"/>
                    <a:gd name="connsiteX57" fmla="*/ 206375 w 1100137"/>
                    <a:gd name="connsiteY57" fmla="*/ 280987 h 1192212"/>
                    <a:gd name="connsiteX58" fmla="*/ 238125 w 1100137"/>
                    <a:gd name="connsiteY58" fmla="*/ 155575 h 1192212"/>
                    <a:gd name="connsiteX59" fmla="*/ 238125 w 1100137"/>
                    <a:gd name="connsiteY59" fmla="*/ 249259 h 1192212"/>
                    <a:gd name="connsiteX60" fmla="*/ 251719 w 1100137"/>
                    <a:gd name="connsiteY60" fmla="*/ 249259 h 1192212"/>
                    <a:gd name="connsiteX61" fmla="*/ 267459 w 1100137"/>
                    <a:gd name="connsiteY61" fmla="*/ 249259 h 1192212"/>
                    <a:gd name="connsiteX62" fmla="*/ 283200 w 1100137"/>
                    <a:gd name="connsiteY62" fmla="*/ 249259 h 1192212"/>
                    <a:gd name="connsiteX63" fmla="*/ 381934 w 1100137"/>
                    <a:gd name="connsiteY63" fmla="*/ 249259 h 1192212"/>
                    <a:gd name="connsiteX64" fmla="*/ 397674 w 1100137"/>
                    <a:gd name="connsiteY64" fmla="*/ 249259 h 1192212"/>
                    <a:gd name="connsiteX65" fmla="*/ 413415 w 1100137"/>
                    <a:gd name="connsiteY65" fmla="*/ 249259 h 1192212"/>
                    <a:gd name="connsiteX66" fmla="*/ 429155 w 1100137"/>
                    <a:gd name="connsiteY66" fmla="*/ 249259 h 1192212"/>
                    <a:gd name="connsiteX67" fmla="*/ 444895 w 1100137"/>
                    <a:gd name="connsiteY67" fmla="*/ 249259 h 1192212"/>
                    <a:gd name="connsiteX68" fmla="*/ 458489 w 1100137"/>
                    <a:gd name="connsiteY68" fmla="*/ 249259 h 1192212"/>
                    <a:gd name="connsiteX69" fmla="*/ 474229 w 1100137"/>
                    <a:gd name="connsiteY69" fmla="*/ 249259 h 1192212"/>
                    <a:gd name="connsiteX70" fmla="*/ 489970 w 1100137"/>
                    <a:gd name="connsiteY70" fmla="*/ 249259 h 1192212"/>
                    <a:gd name="connsiteX71" fmla="*/ 670983 w 1100137"/>
                    <a:gd name="connsiteY71" fmla="*/ 249259 h 1192212"/>
                    <a:gd name="connsiteX72" fmla="*/ 677422 w 1100137"/>
                    <a:gd name="connsiteY72" fmla="*/ 250690 h 1192212"/>
                    <a:gd name="connsiteX73" fmla="*/ 686723 w 1100137"/>
                    <a:gd name="connsiteY73" fmla="*/ 264993 h 1192212"/>
                    <a:gd name="connsiteX74" fmla="*/ 686723 w 1100137"/>
                    <a:gd name="connsiteY74" fmla="*/ 273575 h 1192212"/>
                    <a:gd name="connsiteX75" fmla="*/ 686723 w 1100137"/>
                    <a:gd name="connsiteY75" fmla="*/ 282156 h 1192212"/>
                    <a:gd name="connsiteX76" fmla="*/ 686723 w 1100137"/>
                    <a:gd name="connsiteY76" fmla="*/ 304326 h 1192212"/>
                    <a:gd name="connsiteX77" fmla="*/ 686723 w 1100137"/>
                    <a:gd name="connsiteY77" fmla="*/ 353671 h 1192212"/>
                    <a:gd name="connsiteX78" fmla="*/ 686723 w 1100137"/>
                    <a:gd name="connsiteY78" fmla="*/ 375841 h 1192212"/>
                    <a:gd name="connsiteX79" fmla="*/ 686723 w 1100137"/>
                    <a:gd name="connsiteY79" fmla="*/ 384422 h 1192212"/>
                    <a:gd name="connsiteX80" fmla="*/ 686723 w 1100137"/>
                    <a:gd name="connsiteY80" fmla="*/ 407307 h 1192212"/>
                    <a:gd name="connsiteX81" fmla="*/ 686723 w 1100137"/>
                    <a:gd name="connsiteY81" fmla="*/ 457367 h 1192212"/>
                    <a:gd name="connsiteX82" fmla="*/ 686723 w 1100137"/>
                    <a:gd name="connsiteY82" fmla="*/ 478822 h 1192212"/>
                    <a:gd name="connsiteX83" fmla="*/ 686723 w 1100137"/>
                    <a:gd name="connsiteY83" fmla="*/ 487404 h 1192212"/>
                    <a:gd name="connsiteX84" fmla="*/ 686723 w 1100137"/>
                    <a:gd name="connsiteY84" fmla="*/ 509573 h 1192212"/>
                    <a:gd name="connsiteX85" fmla="*/ 686723 w 1100137"/>
                    <a:gd name="connsiteY85" fmla="*/ 560349 h 1192212"/>
                    <a:gd name="connsiteX86" fmla="*/ 686723 w 1100137"/>
                    <a:gd name="connsiteY86" fmla="*/ 582518 h 1192212"/>
                    <a:gd name="connsiteX87" fmla="*/ 686723 w 1100137"/>
                    <a:gd name="connsiteY87" fmla="*/ 591100 h 1192212"/>
                    <a:gd name="connsiteX88" fmla="*/ 686723 w 1100137"/>
                    <a:gd name="connsiteY88" fmla="*/ 612555 h 1192212"/>
                    <a:gd name="connsiteX89" fmla="*/ 686723 w 1100137"/>
                    <a:gd name="connsiteY89" fmla="*/ 662615 h 1192212"/>
                    <a:gd name="connsiteX90" fmla="*/ 686723 w 1100137"/>
                    <a:gd name="connsiteY90" fmla="*/ 685500 h 1192212"/>
                    <a:gd name="connsiteX91" fmla="*/ 686723 w 1100137"/>
                    <a:gd name="connsiteY91" fmla="*/ 694081 h 1192212"/>
                    <a:gd name="connsiteX92" fmla="*/ 686723 w 1100137"/>
                    <a:gd name="connsiteY92" fmla="*/ 716251 h 1192212"/>
                    <a:gd name="connsiteX93" fmla="*/ 686723 w 1100137"/>
                    <a:gd name="connsiteY93" fmla="*/ 765596 h 1192212"/>
                    <a:gd name="connsiteX94" fmla="*/ 686723 w 1100137"/>
                    <a:gd name="connsiteY94" fmla="*/ 787766 h 1192212"/>
                    <a:gd name="connsiteX95" fmla="*/ 686723 w 1100137"/>
                    <a:gd name="connsiteY95" fmla="*/ 796348 h 1192212"/>
                    <a:gd name="connsiteX96" fmla="*/ 686723 w 1100137"/>
                    <a:gd name="connsiteY96" fmla="*/ 819232 h 1192212"/>
                    <a:gd name="connsiteX97" fmla="*/ 686723 w 1100137"/>
                    <a:gd name="connsiteY97" fmla="*/ 868577 h 1192212"/>
                    <a:gd name="connsiteX98" fmla="*/ 686723 w 1100137"/>
                    <a:gd name="connsiteY98" fmla="*/ 884311 h 1192212"/>
                    <a:gd name="connsiteX99" fmla="*/ 686723 w 1100137"/>
                    <a:gd name="connsiteY99" fmla="*/ 890747 h 1192212"/>
                    <a:gd name="connsiteX100" fmla="*/ 686723 w 1100137"/>
                    <a:gd name="connsiteY100" fmla="*/ 900044 h 1192212"/>
                    <a:gd name="connsiteX101" fmla="*/ 686723 w 1100137"/>
                    <a:gd name="connsiteY101" fmla="*/ 911486 h 1192212"/>
                    <a:gd name="connsiteX102" fmla="*/ 686723 w 1100137"/>
                    <a:gd name="connsiteY102" fmla="*/ 921498 h 1192212"/>
                    <a:gd name="connsiteX103" fmla="*/ 686723 w 1100137"/>
                    <a:gd name="connsiteY103" fmla="*/ 927220 h 1192212"/>
                    <a:gd name="connsiteX104" fmla="*/ 686723 w 1100137"/>
                    <a:gd name="connsiteY104" fmla="*/ 942953 h 1192212"/>
                    <a:gd name="connsiteX105" fmla="*/ 686723 w 1100137"/>
                    <a:gd name="connsiteY105" fmla="*/ 958686 h 1192212"/>
                    <a:gd name="connsiteX106" fmla="*/ 686723 w 1100137"/>
                    <a:gd name="connsiteY106" fmla="*/ 974419 h 1192212"/>
                    <a:gd name="connsiteX107" fmla="*/ 686723 w 1100137"/>
                    <a:gd name="connsiteY107" fmla="*/ 1009462 h 1192212"/>
                    <a:gd name="connsiteX108" fmla="*/ 686723 w 1100137"/>
                    <a:gd name="connsiteY108" fmla="*/ 1025195 h 1192212"/>
                    <a:gd name="connsiteX109" fmla="*/ 686723 w 1100137"/>
                    <a:gd name="connsiteY109" fmla="*/ 1036637 h 1192212"/>
                    <a:gd name="connsiteX110" fmla="*/ 862012 w 1100137"/>
                    <a:gd name="connsiteY110" fmla="*/ 1036637 h 1192212"/>
                    <a:gd name="connsiteX111" fmla="*/ 862012 w 1100137"/>
                    <a:gd name="connsiteY111" fmla="*/ 974419 h 1192212"/>
                    <a:gd name="connsiteX112" fmla="*/ 862012 w 1100137"/>
                    <a:gd name="connsiteY112" fmla="*/ 958686 h 1192212"/>
                    <a:gd name="connsiteX113" fmla="*/ 862012 w 1100137"/>
                    <a:gd name="connsiteY113" fmla="*/ 942953 h 1192212"/>
                    <a:gd name="connsiteX114" fmla="*/ 862012 w 1100137"/>
                    <a:gd name="connsiteY114" fmla="*/ 927220 h 1192212"/>
                    <a:gd name="connsiteX115" fmla="*/ 862012 w 1100137"/>
                    <a:gd name="connsiteY115" fmla="*/ 911486 h 1192212"/>
                    <a:gd name="connsiteX116" fmla="*/ 862012 w 1100137"/>
                    <a:gd name="connsiteY116" fmla="*/ 900044 h 1192212"/>
                    <a:gd name="connsiteX117" fmla="*/ 862012 w 1100137"/>
                    <a:gd name="connsiteY117" fmla="*/ 884311 h 1192212"/>
                    <a:gd name="connsiteX118" fmla="*/ 862012 w 1100137"/>
                    <a:gd name="connsiteY118" fmla="*/ 868577 h 1192212"/>
                    <a:gd name="connsiteX119" fmla="*/ 862012 w 1100137"/>
                    <a:gd name="connsiteY119" fmla="*/ 796348 h 1192212"/>
                    <a:gd name="connsiteX120" fmla="*/ 862012 w 1100137"/>
                    <a:gd name="connsiteY120" fmla="*/ 765596 h 1192212"/>
                    <a:gd name="connsiteX121" fmla="*/ 862012 w 1100137"/>
                    <a:gd name="connsiteY121" fmla="*/ 694081 h 1192212"/>
                    <a:gd name="connsiteX122" fmla="*/ 862012 w 1100137"/>
                    <a:gd name="connsiteY122" fmla="*/ 662615 h 1192212"/>
                    <a:gd name="connsiteX123" fmla="*/ 862012 w 1100137"/>
                    <a:gd name="connsiteY123" fmla="*/ 591100 h 1192212"/>
                    <a:gd name="connsiteX124" fmla="*/ 862012 w 1100137"/>
                    <a:gd name="connsiteY124" fmla="*/ 560349 h 1192212"/>
                    <a:gd name="connsiteX125" fmla="*/ 862012 w 1100137"/>
                    <a:gd name="connsiteY125" fmla="*/ 487404 h 1192212"/>
                    <a:gd name="connsiteX126" fmla="*/ 862012 w 1100137"/>
                    <a:gd name="connsiteY126" fmla="*/ 457367 h 1192212"/>
                    <a:gd name="connsiteX127" fmla="*/ 862012 w 1100137"/>
                    <a:gd name="connsiteY127" fmla="*/ 384422 h 1192212"/>
                    <a:gd name="connsiteX128" fmla="*/ 862012 w 1100137"/>
                    <a:gd name="connsiteY128" fmla="*/ 353671 h 1192212"/>
                    <a:gd name="connsiteX129" fmla="*/ 862012 w 1100137"/>
                    <a:gd name="connsiteY129" fmla="*/ 282156 h 1192212"/>
                    <a:gd name="connsiteX130" fmla="*/ 862012 w 1100137"/>
                    <a:gd name="connsiteY130" fmla="*/ 250690 h 1192212"/>
                    <a:gd name="connsiteX131" fmla="*/ 862012 w 1100137"/>
                    <a:gd name="connsiteY131" fmla="*/ 179175 h 1192212"/>
                    <a:gd name="connsiteX132" fmla="*/ 862012 w 1100137"/>
                    <a:gd name="connsiteY132" fmla="*/ 155575 h 1192212"/>
                    <a:gd name="connsiteX133" fmla="*/ 532182 w 1100137"/>
                    <a:gd name="connsiteY133" fmla="*/ 155575 h 1192212"/>
                    <a:gd name="connsiteX134" fmla="*/ 489970 w 1100137"/>
                    <a:gd name="connsiteY134" fmla="*/ 155575 h 1192212"/>
                    <a:gd name="connsiteX135" fmla="*/ 474229 w 1100137"/>
                    <a:gd name="connsiteY135" fmla="*/ 155575 h 1192212"/>
                    <a:gd name="connsiteX136" fmla="*/ 458489 w 1100137"/>
                    <a:gd name="connsiteY136" fmla="*/ 155575 h 1192212"/>
                    <a:gd name="connsiteX137" fmla="*/ 444895 w 1100137"/>
                    <a:gd name="connsiteY137" fmla="*/ 155575 h 1192212"/>
                    <a:gd name="connsiteX138" fmla="*/ 429155 w 1100137"/>
                    <a:gd name="connsiteY138" fmla="*/ 155575 h 1192212"/>
                    <a:gd name="connsiteX139" fmla="*/ 413415 w 1100137"/>
                    <a:gd name="connsiteY139" fmla="*/ 155575 h 1192212"/>
                    <a:gd name="connsiteX140" fmla="*/ 397674 w 1100137"/>
                    <a:gd name="connsiteY140" fmla="*/ 155575 h 1192212"/>
                    <a:gd name="connsiteX141" fmla="*/ 381934 w 1100137"/>
                    <a:gd name="connsiteY141" fmla="*/ 155575 h 1192212"/>
                    <a:gd name="connsiteX142" fmla="*/ 238125 w 1100137"/>
                    <a:gd name="connsiteY142" fmla="*/ 155575 h 1192212"/>
                    <a:gd name="connsiteX143" fmla="*/ 444500 w 1100137"/>
                    <a:gd name="connsiteY143" fmla="*/ 31750 h 1192212"/>
                    <a:gd name="connsiteX144" fmla="*/ 444500 w 1100137"/>
                    <a:gd name="connsiteY144" fmla="*/ 125266 h 1192212"/>
                    <a:gd name="connsiteX145" fmla="*/ 458079 w 1100137"/>
                    <a:gd name="connsiteY145" fmla="*/ 125266 h 1192212"/>
                    <a:gd name="connsiteX146" fmla="*/ 473801 w 1100137"/>
                    <a:gd name="connsiteY146" fmla="*/ 125266 h 1192212"/>
                    <a:gd name="connsiteX147" fmla="*/ 489523 w 1100137"/>
                    <a:gd name="connsiteY147" fmla="*/ 125266 h 1192212"/>
                    <a:gd name="connsiteX148" fmla="*/ 876862 w 1100137"/>
                    <a:gd name="connsiteY148" fmla="*/ 125266 h 1192212"/>
                    <a:gd name="connsiteX149" fmla="*/ 879006 w 1100137"/>
                    <a:gd name="connsiteY149" fmla="*/ 125266 h 1192212"/>
                    <a:gd name="connsiteX150" fmla="*/ 892584 w 1100137"/>
                    <a:gd name="connsiteY150" fmla="*/ 140971 h 1192212"/>
                    <a:gd name="connsiteX151" fmla="*/ 892584 w 1100137"/>
                    <a:gd name="connsiteY151" fmla="*/ 149537 h 1192212"/>
                    <a:gd name="connsiteX152" fmla="*/ 892584 w 1100137"/>
                    <a:gd name="connsiteY152" fmla="*/ 180233 h 1192212"/>
                    <a:gd name="connsiteX153" fmla="*/ 892584 w 1100137"/>
                    <a:gd name="connsiteY153" fmla="*/ 251619 h 1192212"/>
                    <a:gd name="connsiteX154" fmla="*/ 892584 w 1100137"/>
                    <a:gd name="connsiteY154" fmla="*/ 283029 h 1192212"/>
                    <a:gd name="connsiteX155" fmla="*/ 892584 w 1100137"/>
                    <a:gd name="connsiteY155" fmla="*/ 354415 h 1192212"/>
                    <a:gd name="connsiteX156" fmla="*/ 892584 w 1100137"/>
                    <a:gd name="connsiteY156" fmla="*/ 385111 h 1192212"/>
                    <a:gd name="connsiteX157" fmla="*/ 892584 w 1100137"/>
                    <a:gd name="connsiteY157" fmla="*/ 457924 h 1192212"/>
                    <a:gd name="connsiteX158" fmla="*/ 892584 w 1100137"/>
                    <a:gd name="connsiteY158" fmla="*/ 487906 h 1192212"/>
                    <a:gd name="connsiteX159" fmla="*/ 892584 w 1100137"/>
                    <a:gd name="connsiteY159" fmla="*/ 560720 h 1192212"/>
                    <a:gd name="connsiteX160" fmla="*/ 892584 w 1100137"/>
                    <a:gd name="connsiteY160" fmla="*/ 591416 h 1192212"/>
                    <a:gd name="connsiteX161" fmla="*/ 892584 w 1100137"/>
                    <a:gd name="connsiteY161" fmla="*/ 662802 h 1192212"/>
                    <a:gd name="connsiteX162" fmla="*/ 892584 w 1100137"/>
                    <a:gd name="connsiteY162" fmla="*/ 694212 h 1192212"/>
                    <a:gd name="connsiteX163" fmla="*/ 892584 w 1100137"/>
                    <a:gd name="connsiteY163" fmla="*/ 765598 h 1192212"/>
                    <a:gd name="connsiteX164" fmla="*/ 892584 w 1100137"/>
                    <a:gd name="connsiteY164" fmla="*/ 796294 h 1192212"/>
                    <a:gd name="connsiteX165" fmla="*/ 892584 w 1100137"/>
                    <a:gd name="connsiteY165" fmla="*/ 884098 h 1192212"/>
                    <a:gd name="connsiteX166" fmla="*/ 892584 w 1100137"/>
                    <a:gd name="connsiteY166" fmla="*/ 899803 h 1192212"/>
                    <a:gd name="connsiteX167" fmla="*/ 892584 w 1100137"/>
                    <a:gd name="connsiteY167" fmla="*/ 911225 h 1192212"/>
                    <a:gd name="connsiteX168" fmla="*/ 1068387 w 1100137"/>
                    <a:gd name="connsiteY168" fmla="*/ 911225 h 1192212"/>
                    <a:gd name="connsiteX169" fmla="*/ 1068387 w 1100137"/>
                    <a:gd name="connsiteY169" fmla="*/ 31750 h 1192212"/>
                    <a:gd name="connsiteX170" fmla="*/ 444500 w 1100137"/>
                    <a:gd name="connsiteY170" fmla="*/ 31750 h 1192212"/>
                    <a:gd name="connsiteX171" fmla="*/ 427911 w 1100137"/>
                    <a:gd name="connsiteY171" fmla="*/ 0 h 1192212"/>
                    <a:gd name="connsiteX172" fmla="*/ 429339 w 1100137"/>
                    <a:gd name="connsiteY172" fmla="*/ 0 h 1192212"/>
                    <a:gd name="connsiteX173" fmla="*/ 1084421 w 1100137"/>
                    <a:gd name="connsiteY173" fmla="*/ 0 h 1192212"/>
                    <a:gd name="connsiteX174" fmla="*/ 1086564 w 1100137"/>
                    <a:gd name="connsiteY174" fmla="*/ 0 h 1192212"/>
                    <a:gd name="connsiteX175" fmla="*/ 1100137 w 1100137"/>
                    <a:gd name="connsiteY175" fmla="*/ 15706 h 1192212"/>
                    <a:gd name="connsiteX176" fmla="*/ 1100137 w 1100137"/>
                    <a:gd name="connsiteY176" fmla="*/ 926642 h 1192212"/>
                    <a:gd name="connsiteX177" fmla="*/ 1084421 w 1100137"/>
                    <a:gd name="connsiteY177" fmla="*/ 942347 h 1192212"/>
                    <a:gd name="connsiteX178" fmla="*/ 892969 w 1100137"/>
                    <a:gd name="connsiteY178" fmla="*/ 942347 h 1192212"/>
                    <a:gd name="connsiteX179" fmla="*/ 892969 w 1100137"/>
                    <a:gd name="connsiteY179" fmla="*/ 958053 h 1192212"/>
                    <a:gd name="connsiteX180" fmla="*/ 892969 w 1100137"/>
                    <a:gd name="connsiteY180" fmla="*/ 973759 h 1192212"/>
                    <a:gd name="connsiteX181" fmla="*/ 892969 w 1100137"/>
                    <a:gd name="connsiteY181" fmla="*/ 1051574 h 1192212"/>
                    <a:gd name="connsiteX182" fmla="*/ 877252 w 1100137"/>
                    <a:gd name="connsiteY182" fmla="*/ 1067280 h 1192212"/>
                    <a:gd name="connsiteX183" fmla="*/ 686514 w 1100137"/>
                    <a:gd name="connsiteY183" fmla="*/ 1067280 h 1192212"/>
                    <a:gd name="connsiteX184" fmla="*/ 686514 w 1100137"/>
                    <a:gd name="connsiteY184" fmla="*/ 1176506 h 1192212"/>
                    <a:gd name="connsiteX185" fmla="*/ 670798 w 1100137"/>
                    <a:gd name="connsiteY185" fmla="*/ 1192212 h 1192212"/>
                    <a:gd name="connsiteX186" fmla="*/ 15716 w 1100137"/>
                    <a:gd name="connsiteY186" fmla="*/ 1192212 h 1192212"/>
                    <a:gd name="connsiteX187" fmla="*/ 0 w 1100137"/>
                    <a:gd name="connsiteY187" fmla="*/ 1176506 h 1192212"/>
                    <a:gd name="connsiteX188" fmla="*/ 0 w 1100137"/>
                    <a:gd name="connsiteY188" fmla="*/ 265571 h 1192212"/>
                    <a:gd name="connsiteX189" fmla="*/ 15716 w 1100137"/>
                    <a:gd name="connsiteY189" fmla="*/ 249865 h 1192212"/>
                    <a:gd name="connsiteX190" fmla="*/ 207169 w 1100137"/>
                    <a:gd name="connsiteY190" fmla="*/ 249865 h 1192212"/>
                    <a:gd name="connsiteX191" fmla="*/ 207169 w 1100137"/>
                    <a:gd name="connsiteY191" fmla="*/ 140638 h 1192212"/>
                    <a:gd name="connsiteX192" fmla="*/ 222885 w 1100137"/>
                    <a:gd name="connsiteY192" fmla="*/ 124933 h 1192212"/>
                    <a:gd name="connsiteX193" fmla="*/ 382191 w 1100137"/>
                    <a:gd name="connsiteY193" fmla="*/ 124933 h 1192212"/>
                    <a:gd name="connsiteX194" fmla="*/ 397907 w 1100137"/>
                    <a:gd name="connsiteY194" fmla="*/ 124933 h 1192212"/>
                    <a:gd name="connsiteX195" fmla="*/ 413623 w 1100137"/>
                    <a:gd name="connsiteY195" fmla="*/ 124933 h 1192212"/>
                    <a:gd name="connsiteX196" fmla="*/ 413623 w 1100137"/>
                    <a:gd name="connsiteY196" fmla="*/ 15706 h 1192212"/>
                    <a:gd name="connsiteX197" fmla="*/ 427911 w 1100137"/>
                    <a:gd name="connsiteY197" fmla="*/ 0 h 1192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</a:cxnLst>
                  <a:rect l="l" t="t" r="r" b="b"/>
                  <a:pathLst>
                    <a:path w="1100137" h="1192212">
                      <a:moveTo>
                        <a:pt x="31750" y="280987"/>
                      </a:moveTo>
                      <a:lnTo>
                        <a:pt x="31750" y="1162049"/>
                      </a:lnTo>
                      <a:lnTo>
                        <a:pt x="655637" y="1162049"/>
                      </a:lnTo>
                      <a:lnTo>
                        <a:pt x="655637" y="1068387"/>
                      </a:lnTo>
                      <a:lnTo>
                        <a:pt x="655637" y="1052512"/>
                      </a:lnTo>
                      <a:lnTo>
                        <a:pt x="655637" y="1036637"/>
                      </a:lnTo>
                      <a:lnTo>
                        <a:pt x="655637" y="1025524"/>
                      </a:lnTo>
                      <a:lnTo>
                        <a:pt x="655637" y="1009649"/>
                      </a:lnTo>
                      <a:lnTo>
                        <a:pt x="655637" y="993774"/>
                      </a:lnTo>
                      <a:lnTo>
                        <a:pt x="655637" y="974724"/>
                      </a:lnTo>
                      <a:lnTo>
                        <a:pt x="655637" y="958849"/>
                      </a:lnTo>
                      <a:lnTo>
                        <a:pt x="655637" y="942974"/>
                      </a:lnTo>
                      <a:lnTo>
                        <a:pt x="655637" y="927099"/>
                      </a:lnTo>
                      <a:lnTo>
                        <a:pt x="655637" y="920749"/>
                      </a:lnTo>
                      <a:lnTo>
                        <a:pt x="655637" y="911224"/>
                      </a:lnTo>
                      <a:lnTo>
                        <a:pt x="655637" y="900112"/>
                      </a:lnTo>
                      <a:lnTo>
                        <a:pt x="655637" y="890587"/>
                      </a:lnTo>
                      <a:lnTo>
                        <a:pt x="655637" y="884237"/>
                      </a:lnTo>
                      <a:lnTo>
                        <a:pt x="655637" y="868362"/>
                      </a:lnTo>
                      <a:lnTo>
                        <a:pt x="655637" y="819149"/>
                      </a:lnTo>
                      <a:lnTo>
                        <a:pt x="655637" y="796924"/>
                      </a:lnTo>
                      <a:lnTo>
                        <a:pt x="655637" y="787399"/>
                      </a:lnTo>
                      <a:lnTo>
                        <a:pt x="655637" y="765174"/>
                      </a:lnTo>
                      <a:lnTo>
                        <a:pt x="655637" y="715962"/>
                      </a:lnTo>
                      <a:lnTo>
                        <a:pt x="655637" y="693737"/>
                      </a:lnTo>
                      <a:lnTo>
                        <a:pt x="655637" y="685799"/>
                      </a:lnTo>
                      <a:lnTo>
                        <a:pt x="655637" y="661987"/>
                      </a:lnTo>
                      <a:lnTo>
                        <a:pt x="655637" y="612774"/>
                      </a:lnTo>
                      <a:lnTo>
                        <a:pt x="655637" y="590549"/>
                      </a:lnTo>
                      <a:lnTo>
                        <a:pt x="655637" y="582612"/>
                      </a:lnTo>
                      <a:lnTo>
                        <a:pt x="655637" y="560387"/>
                      </a:lnTo>
                      <a:lnTo>
                        <a:pt x="655637" y="509587"/>
                      </a:lnTo>
                      <a:lnTo>
                        <a:pt x="655637" y="487362"/>
                      </a:lnTo>
                      <a:lnTo>
                        <a:pt x="655637" y="479425"/>
                      </a:lnTo>
                      <a:lnTo>
                        <a:pt x="655637" y="457200"/>
                      </a:lnTo>
                      <a:lnTo>
                        <a:pt x="655637" y="407987"/>
                      </a:lnTo>
                      <a:lnTo>
                        <a:pt x="655637" y="384175"/>
                      </a:lnTo>
                      <a:lnTo>
                        <a:pt x="655637" y="376237"/>
                      </a:lnTo>
                      <a:lnTo>
                        <a:pt x="655637" y="354012"/>
                      </a:lnTo>
                      <a:lnTo>
                        <a:pt x="655637" y="304800"/>
                      </a:lnTo>
                      <a:lnTo>
                        <a:pt x="655637" y="282575"/>
                      </a:lnTo>
                      <a:lnTo>
                        <a:pt x="655637" y="280987"/>
                      </a:lnTo>
                      <a:lnTo>
                        <a:pt x="539750" y="280987"/>
                      </a:lnTo>
                      <a:lnTo>
                        <a:pt x="490537" y="280987"/>
                      </a:lnTo>
                      <a:lnTo>
                        <a:pt x="474662" y="280987"/>
                      </a:lnTo>
                      <a:lnTo>
                        <a:pt x="458787" y="280987"/>
                      </a:lnTo>
                      <a:lnTo>
                        <a:pt x="444500" y="280987"/>
                      </a:lnTo>
                      <a:lnTo>
                        <a:pt x="428625" y="280987"/>
                      </a:lnTo>
                      <a:lnTo>
                        <a:pt x="414337" y="280987"/>
                      </a:lnTo>
                      <a:lnTo>
                        <a:pt x="398462" y="280987"/>
                      </a:lnTo>
                      <a:lnTo>
                        <a:pt x="382587" y="280987"/>
                      </a:lnTo>
                      <a:lnTo>
                        <a:pt x="325437" y="280987"/>
                      </a:lnTo>
                      <a:lnTo>
                        <a:pt x="284163" y="280987"/>
                      </a:lnTo>
                      <a:lnTo>
                        <a:pt x="268288" y="280987"/>
                      </a:lnTo>
                      <a:lnTo>
                        <a:pt x="252413" y="280987"/>
                      </a:lnTo>
                      <a:lnTo>
                        <a:pt x="238125" y="280987"/>
                      </a:lnTo>
                      <a:lnTo>
                        <a:pt x="222250" y="280987"/>
                      </a:lnTo>
                      <a:lnTo>
                        <a:pt x="206375" y="280987"/>
                      </a:lnTo>
                      <a:close/>
                      <a:moveTo>
                        <a:pt x="238125" y="155575"/>
                      </a:moveTo>
                      <a:cubicBezTo>
                        <a:pt x="238125" y="155575"/>
                        <a:pt x="238125" y="155575"/>
                        <a:pt x="238125" y="249259"/>
                      </a:cubicBezTo>
                      <a:cubicBezTo>
                        <a:pt x="238125" y="249259"/>
                        <a:pt x="238125" y="249259"/>
                        <a:pt x="251719" y="249259"/>
                      </a:cubicBezTo>
                      <a:cubicBezTo>
                        <a:pt x="251719" y="249259"/>
                        <a:pt x="251719" y="249259"/>
                        <a:pt x="267459" y="249259"/>
                      </a:cubicBezTo>
                      <a:cubicBezTo>
                        <a:pt x="267459" y="249259"/>
                        <a:pt x="267459" y="249259"/>
                        <a:pt x="283200" y="249259"/>
                      </a:cubicBezTo>
                      <a:cubicBezTo>
                        <a:pt x="283200" y="249259"/>
                        <a:pt x="283200" y="249259"/>
                        <a:pt x="381934" y="249259"/>
                      </a:cubicBezTo>
                      <a:cubicBezTo>
                        <a:pt x="381934" y="249259"/>
                        <a:pt x="381934" y="249259"/>
                        <a:pt x="397674" y="249259"/>
                      </a:cubicBezTo>
                      <a:cubicBezTo>
                        <a:pt x="397674" y="249259"/>
                        <a:pt x="397674" y="249259"/>
                        <a:pt x="413415" y="249259"/>
                      </a:cubicBezTo>
                      <a:cubicBezTo>
                        <a:pt x="413415" y="249259"/>
                        <a:pt x="413415" y="249259"/>
                        <a:pt x="429155" y="249259"/>
                      </a:cubicBezTo>
                      <a:cubicBezTo>
                        <a:pt x="429155" y="249259"/>
                        <a:pt x="429155" y="249259"/>
                        <a:pt x="444895" y="249259"/>
                      </a:cubicBezTo>
                      <a:cubicBezTo>
                        <a:pt x="444895" y="249259"/>
                        <a:pt x="444895" y="249259"/>
                        <a:pt x="458489" y="249259"/>
                      </a:cubicBezTo>
                      <a:cubicBezTo>
                        <a:pt x="458489" y="249259"/>
                        <a:pt x="458489" y="249259"/>
                        <a:pt x="474229" y="249259"/>
                      </a:cubicBezTo>
                      <a:cubicBezTo>
                        <a:pt x="474229" y="249259"/>
                        <a:pt x="474229" y="249259"/>
                        <a:pt x="489970" y="249259"/>
                      </a:cubicBezTo>
                      <a:cubicBezTo>
                        <a:pt x="489970" y="249259"/>
                        <a:pt x="489970" y="249259"/>
                        <a:pt x="670983" y="249259"/>
                      </a:cubicBezTo>
                      <a:cubicBezTo>
                        <a:pt x="673129" y="249259"/>
                        <a:pt x="675275" y="249975"/>
                        <a:pt x="677422" y="250690"/>
                      </a:cubicBezTo>
                      <a:cubicBezTo>
                        <a:pt x="682430" y="253550"/>
                        <a:pt x="686723" y="258556"/>
                        <a:pt x="686723" y="264993"/>
                      </a:cubicBezTo>
                      <a:cubicBezTo>
                        <a:pt x="686723" y="264993"/>
                        <a:pt x="686723" y="264993"/>
                        <a:pt x="686723" y="273575"/>
                      </a:cubicBezTo>
                      <a:cubicBezTo>
                        <a:pt x="686723" y="273575"/>
                        <a:pt x="686723" y="273575"/>
                        <a:pt x="686723" y="282156"/>
                      </a:cubicBezTo>
                      <a:cubicBezTo>
                        <a:pt x="686723" y="282156"/>
                        <a:pt x="686723" y="282156"/>
                        <a:pt x="686723" y="304326"/>
                      </a:cubicBezTo>
                      <a:cubicBezTo>
                        <a:pt x="686723" y="304326"/>
                        <a:pt x="686723" y="304326"/>
                        <a:pt x="686723" y="353671"/>
                      </a:cubicBezTo>
                      <a:cubicBezTo>
                        <a:pt x="686723" y="353671"/>
                        <a:pt x="686723" y="353671"/>
                        <a:pt x="686723" y="375841"/>
                      </a:cubicBezTo>
                      <a:cubicBezTo>
                        <a:pt x="686723" y="375841"/>
                        <a:pt x="686723" y="375841"/>
                        <a:pt x="686723" y="384422"/>
                      </a:cubicBezTo>
                      <a:cubicBezTo>
                        <a:pt x="686723" y="384422"/>
                        <a:pt x="686723" y="384422"/>
                        <a:pt x="686723" y="407307"/>
                      </a:cubicBezTo>
                      <a:cubicBezTo>
                        <a:pt x="686723" y="407307"/>
                        <a:pt x="686723" y="407307"/>
                        <a:pt x="686723" y="457367"/>
                      </a:cubicBezTo>
                      <a:cubicBezTo>
                        <a:pt x="686723" y="457367"/>
                        <a:pt x="686723" y="457367"/>
                        <a:pt x="686723" y="478822"/>
                      </a:cubicBezTo>
                      <a:cubicBezTo>
                        <a:pt x="686723" y="478822"/>
                        <a:pt x="686723" y="478822"/>
                        <a:pt x="686723" y="487404"/>
                      </a:cubicBezTo>
                      <a:cubicBezTo>
                        <a:pt x="686723" y="487404"/>
                        <a:pt x="686723" y="487404"/>
                        <a:pt x="686723" y="509573"/>
                      </a:cubicBezTo>
                      <a:cubicBezTo>
                        <a:pt x="686723" y="509573"/>
                        <a:pt x="686723" y="509573"/>
                        <a:pt x="686723" y="560349"/>
                      </a:cubicBezTo>
                      <a:cubicBezTo>
                        <a:pt x="686723" y="560349"/>
                        <a:pt x="686723" y="560349"/>
                        <a:pt x="686723" y="582518"/>
                      </a:cubicBezTo>
                      <a:cubicBezTo>
                        <a:pt x="686723" y="582518"/>
                        <a:pt x="686723" y="582518"/>
                        <a:pt x="686723" y="591100"/>
                      </a:cubicBezTo>
                      <a:cubicBezTo>
                        <a:pt x="686723" y="591100"/>
                        <a:pt x="686723" y="591100"/>
                        <a:pt x="686723" y="612555"/>
                      </a:cubicBezTo>
                      <a:cubicBezTo>
                        <a:pt x="686723" y="612555"/>
                        <a:pt x="686723" y="612555"/>
                        <a:pt x="686723" y="662615"/>
                      </a:cubicBezTo>
                      <a:cubicBezTo>
                        <a:pt x="686723" y="662615"/>
                        <a:pt x="686723" y="662615"/>
                        <a:pt x="686723" y="685500"/>
                      </a:cubicBezTo>
                      <a:cubicBezTo>
                        <a:pt x="686723" y="685500"/>
                        <a:pt x="686723" y="685500"/>
                        <a:pt x="686723" y="694081"/>
                      </a:cubicBezTo>
                      <a:cubicBezTo>
                        <a:pt x="686723" y="694081"/>
                        <a:pt x="686723" y="694081"/>
                        <a:pt x="686723" y="716251"/>
                      </a:cubicBezTo>
                      <a:cubicBezTo>
                        <a:pt x="686723" y="716251"/>
                        <a:pt x="686723" y="716251"/>
                        <a:pt x="686723" y="765596"/>
                      </a:cubicBezTo>
                      <a:cubicBezTo>
                        <a:pt x="686723" y="765596"/>
                        <a:pt x="686723" y="765596"/>
                        <a:pt x="686723" y="787766"/>
                      </a:cubicBezTo>
                      <a:cubicBezTo>
                        <a:pt x="686723" y="787766"/>
                        <a:pt x="686723" y="787766"/>
                        <a:pt x="686723" y="796348"/>
                      </a:cubicBezTo>
                      <a:cubicBezTo>
                        <a:pt x="686723" y="796348"/>
                        <a:pt x="686723" y="796348"/>
                        <a:pt x="686723" y="819232"/>
                      </a:cubicBezTo>
                      <a:cubicBezTo>
                        <a:pt x="686723" y="819232"/>
                        <a:pt x="686723" y="819232"/>
                        <a:pt x="686723" y="868577"/>
                      </a:cubicBezTo>
                      <a:cubicBezTo>
                        <a:pt x="686723" y="868577"/>
                        <a:pt x="686723" y="868577"/>
                        <a:pt x="686723" y="884311"/>
                      </a:cubicBezTo>
                      <a:cubicBezTo>
                        <a:pt x="686723" y="884311"/>
                        <a:pt x="686723" y="884311"/>
                        <a:pt x="686723" y="890747"/>
                      </a:cubicBezTo>
                      <a:cubicBezTo>
                        <a:pt x="686723" y="890747"/>
                        <a:pt x="686723" y="890747"/>
                        <a:pt x="686723" y="900044"/>
                      </a:cubicBezTo>
                      <a:cubicBezTo>
                        <a:pt x="686723" y="900044"/>
                        <a:pt x="686723" y="900044"/>
                        <a:pt x="686723" y="911486"/>
                      </a:cubicBezTo>
                      <a:cubicBezTo>
                        <a:pt x="686723" y="911486"/>
                        <a:pt x="686723" y="911486"/>
                        <a:pt x="686723" y="921498"/>
                      </a:cubicBezTo>
                      <a:cubicBezTo>
                        <a:pt x="686723" y="921498"/>
                        <a:pt x="686723" y="921498"/>
                        <a:pt x="686723" y="927220"/>
                      </a:cubicBezTo>
                      <a:cubicBezTo>
                        <a:pt x="686723" y="927220"/>
                        <a:pt x="686723" y="927220"/>
                        <a:pt x="686723" y="942953"/>
                      </a:cubicBezTo>
                      <a:cubicBezTo>
                        <a:pt x="686723" y="942953"/>
                        <a:pt x="686723" y="942953"/>
                        <a:pt x="686723" y="958686"/>
                      </a:cubicBezTo>
                      <a:cubicBezTo>
                        <a:pt x="686723" y="958686"/>
                        <a:pt x="686723" y="958686"/>
                        <a:pt x="686723" y="974419"/>
                      </a:cubicBezTo>
                      <a:cubicBezTo>
                        <a:pt x="686723" y="974419"/>
                        <a:pt x="686723" y="974419"/>
                        <a:pt x="686723" y="1009462"/>
                      </a:cubicBezTo>
                      <a:cubicBezTo>
                        <a:pt x="686723" y="1009462"/>
                        <a:pt x="686723" y="1009462"/>
                        <a:pt x="686723" y="1025195"/>
                      </a:cubicBezTo>
                      <a:cubicBezTo>
                        <a:pt x="686723" y="1025195"/>
                        <a:pt x="686723" y="1025195"/>
                        <a:pt x="686723" y="1036637"/>
                      </a:cubicBezTo>
                      <a:cubicBezTo>
                        <a:pt x="686723" y="1036637"/>
                        <a:pt x="686723" y="1036637"/>
                        <a:pt x="862012" y="1036637"/>
                      </a:cubicBezTo>
                      <a:cubicBezTo>
                        <a:pt x="862012" y="1036637"/>
                        <a:pt x="862012" y="1036637"/>
                        <a:pt x="862012" y="974419"/>
                      </a:cubicBezTo>
                      <a:cubicBezTo>
                        <a:pt x="862012" y="974419"/>
                        <a:pt x="862012" y="974419"/>
                        <a:pt x="862012" y="958686"/>
                      </a:cubicBezTo>
                      <a:cubicBezTo>
                        <a:pt x="862012" y="958686"/>
                        <a:pt x="862012" y="958686"/>
                        <a:pt x="862012" y="942953"/>
                      </a:cubicBezTo>
                      <a:cubicBezTo>
                        <a:pt x="862012" y="942953"/>
                        <a:pt x="862012" y="942953"/>
                        <a:pt x="862012" y="927220"/>
                      </a:cubicBezTo>
                      <a:cubicBezTo>
                        <a:pt x="862012" y="927220"/>
                        <a:pt x="862012" y="927220"/>
                        <a:pt x="862012" y="911486"/>
                      </a:cubicBezTo>
                      <a:cubicBezTo>
                        <a:pt x="862012" y="911486"/>
                        <a:pt x="862012" y="911486"/>
                        <a:pt x="862012" y="900044"/>
                      </a:cubicBezTo>
                      <a:cubicBezTo>
                        <a:pt x="862012" y="900044"/>
                        <a:pt x="862012" y="900044"/>
                        <a:pt x="862012" y="884311"/>
                      </a:cubicBezTo>
                      <a:cubicBezTo>
                        <a:pt x="862012" y="884311"/>
                        <a:pt x="862012" y="884311"/>
                        <a:pt x="862012" y="868577"/>
                      </a:cubicBezTo>
                      <a:cubicBezTo>
                        <a:pt x="862012" y="868577"/>
                        <a:pt x="862012" y="868577"/>
                        <a:pt x="862012" y="796348"/>
                      </a:cubicBezTo>
                      <a:cubicBezTo>
                        <a:pt x="862012" y="796348"/>
                        <a:pt x="862012" y="796348"/>
                        <a:pt x="862012" y="765596"/>
                      </a:cubicBezTo>
                      <a:cubicBezTo>
                        <a:pt x="862012" y="765596"/>
                        <a:pt x="862012" y="765596"/>
                        <a:pt x="862012" y="694081"/>
                      </a:cubicBezTo>
                      <a:cubicBezTo>
                        <a:pt x="862012" y="694081"/>
                        <a:pt x="862012" y="694081"/>
                        <a:pt x="862012" y="662615"/>
                      </a:cubicBezTo>
                      <a:cubicBezTo>
                        <a:pt x="862012" y="662615"/>
                        <a:pt x="862012" y="662615"/>
                        <a:pt x="862012" y="591100"/>
                      </a:cubicBezTo>
                      <a:cubicBezTo>
                        <a:pt x="862012" y="591100"/>
                        <a:pt x="862012" y="591100"/>
                        <a:pt x="862012" y="560349"/>
                      </a:cubicBezTo>
                      <a:cubicBezTo>
                        <a:pt x="862012" y="560349"/>
                        <a:pt x="862012" y="560349"/>
                        <a:pt x="862012" y="487404"/>
                      </a:cubicBezTo>
                      <a:cubicBezTo>
                        <a:pt x="862012" y="487404"/>
                        <a:pt x="862012" y="487404"/>
                        <a:pt x="862012" y="457367"/>
                      </a:cubicBezTo>
                      <a:cubicBezTo>
                        <a:pt x="862012" y="457367"/>
                        <a:pt x="862012" y="457367"/>
                        <a:pt x="862012" y="384422"/>
                      </a:cubicBezTo>
                      <a:cubicBezTo>
                        <a:pt x="862012" y="384422"/>
                        <a:pt x="862012" y="384422"/>
                        <a:pt x="862012" y="353671"/>
                      </a:cubicBezTo>
                      <a:cubicBezTo>
                        <a:pt x="862012" y="353671"/>
                        <a:pt x="862012" y="353671"/>
                        <a:pt x="862012" y="282156"/>
                      </a:cubicBezTo>
                      <a:cubicBezTo>
                        <a:pt x="862012" y="282156"/>
                        <a:pt x="862012" y="282156"/>
                        <a:pt x="862012" y="250690"/>
                      </a:cubicBezTo>
                      <a:cubicBezTo>
                        <a:pt x="862012" y="250690"/>
                        <a:pt x="862012" y="250690"/>
                        <a:pt x="862012" y="179175"/>
                      </a:cubicBezTo>
                      <a:cubicBezTo>
                        <a:pt x="862012" y="179175"/>
                        <a:pt x="862012" y="179175"/>
                        <a:pt x="862012" y="155575"/>
                      </a:cubicBezTo>
                      <a:cubicBezTo>
                        <a:pt x="862012" y="155575"/>
                        <a:pt x="862012" y="155575"/>
                        <a:pt x="532182" y="155575"/>
                      </a:cubicBezTo>
                      <a:cubicBezTo>
                        <a:pt x="532182" y="155575"/>
                        <a:pt x="532182" y="155575"/>
                        <a:pt x="489970" y="155575"/>
                      </a:cubicBezTo>
                      <a:cubicBezTo>
                        <a:pt x="489970" y="155575"/>
                        <a:pt x="489970" y="155575"/>
                        <a:pt x="474229" y="155575"/>
                      </a:cubicBezTo>
                      <a:cubicBezTo>
                        <a:pt x="474229" y="155575"/>
                        <a:pt x="474229" y="155575"/>
                        <a:pt x="458489" y="155575"/>
                      </a:cubicBezTo>
                      <a:cubicBezTo>
                        <a:pt x="458489" y="155575"/>
                        <a:pt x="458489" y="155575"/>
                        <a:pt x="444895" y="155575"/>
                      </a:cubicBezTo>
                      <a:cubicBezTo>
                        <a:pt x="444895" y="155575"/>
                        <a:pt x="444895" y="155575"/>
                        <a:pt x="429155" y="155575"/>
                      </a:cubicBezTo>
                      <a:cubicBezTo>
                        <a:pt x="429155" y="155575"/>
                        <a:pt x="429155" y="155575"/>
                        <a:pt x="413415" y="155575"/>
                      </a:cubicBezTo>
                      <a:cubicBezTo>
                        <a:pt x="413415" y="155575"/>
                        <a:pt x="413415" y="155575"/>
                        <a:pt x="397674" y="155575"/>
                      </a:cubicBezTo>
                      <a:cubicBezTo>
                        <a:pt x="397674" y="155575"/>
                        <a:pt x="397674" y="155575"/>
                        <a:pt x="381934" y="155575"/>
                      </a:cubicBezTo>
                      <a:cubicBezTo>
                        <a:pt x="381934" y="155575"/>
                        <a:pt x="381934" y="155575"/>
                        <a:pt x="238125" y="155575"/>
                      </a:cubicBezTo>
                      <a:close/>
                      <a:moveTo>
                        <a:pt x="444500" y="31750"/>
                      </a:moveTo>
                      <a:lnTo>
                        <a:pt x="444500" y="125266"/>
                      </a:lnTo>
                      <a:cubicBezTo>
                        <a:pt x="444500" y="125266"/>
                        <a:pt x="444500" y="125266"/>
                        <a:pt x="458079" y="125266"/>
                      </a:cubicBezTo>
                      <a:cubicBezTo>
                        <a:pt x="458079" y="125266"/>
                        <a:pt x="458079" y="125266"/>
                        <a:pt x="473801" y="125266"/>
                      </a:cubicBezTo>
                      <a:cubicBezTo>
                        <a:pt x="473801" y="125266"/>
                        <a:pt x="473801" y="125266"/>
                        <a:pt x="489523" y="125266"/>
                      </a:cubicBezTo>
                      <a:cubicBezTo>
                        <a:pt x="489523" y="125266"/>
                        <a:pt x="489523" y="125266"/>
                        <a:pt x="876862" y="125266"/>
                      </a:cubicBezTo>
                      <a:cubicBezTo>
                        <a:pt x="877576" y="125266"/>
                        <a:pt x="878291" y="125266"/>
                        <a:pt x="879006" y="125266"/>
                      </a:cubicBezTo>
                      <a:cubicBezTo>
                        <a:pt x="886867" y="125980"/>
                        <a:pt x="892584" y="133118"/>
                        <a:pt x="892584" y="140971"/>
                      </a:cubicBezTo>
                      <a:cubicBezTo>
                        <a:pt x="892584" y="140971"/>
                        <a:pt x="892584" y="140971"/>
                        <a:pt x="892584" y="149537"/>
                      </a:cubicBezTo>
                      <a:cubicBezTo>
                        <a:pt x="892584" y="149537"/>
                        <a:pt x="892584" y="149537"/>
                        <a:pt x="892584" y="180233"/>
                      </a:cubicBezTo>
                      <a:cubicBezTo>
                        <a:pt x="892584" y="180233"/>
                        <a:pt x="892584" y="180233"/>
                        <a:pt x="892584" y="251619"/>
                      </a:cubicBezTo>
                      <a:cubicBezTo>
                        <a:pt x="892584" y="251619"/>
                        <a:pt x="892584" y="251619"/>
                        <a:pt x="892584" y="283029"/>
                      </a:cubicBezTo>
                      <a:cubicBezTo>
                        <a:pt x="892584" y="283029"/>
                        <a:pt x="892584" y="283029"/>
                        <a:pt x="892584" y="354415"/>
                      </a:cubicBezTo>
                      <a:cubicBezTo>
                        <a:pt x="892584" y="354415"/>
                        <a:pt x="892584" y="354415"/>
                        <a:pt x="892584" y="385111"/>
                      </a:cubicBezTo>
                      <a:cubicBezTo>
                        <a:pt x="892584" y="385111"/>
                        <a:pt x="892584" y="385111"/>
                        <a:pt x="892584" y="457924"/>
                      </a:cubicBezTo>
                      <a:cubicBezTo>
                        <a:pt x="892584" y="457924"/>
                        <a:pt x="892584" y="457924"/>
                        <a:pt x="892584" y="487906"/>
                      </a:cubicBezTo>
                      <a:cubicBezTo>
                        <a:pt x="892584" y="487906"/>
                        <a:pt x="892584" y="487906"/>
                        <a:pt x="892584" y="560720"/>
                      </a:cubicBezTo>
                      <a:cubicBezTo>
                        <a:pt x="892584" y="560720"/>
                        <a:pt x="892584" y="560720"/>
                        <a:pt x="892584" y="591416"/>
                      </a:cubicBezTo>
                      <a:cubicBezTo>
                        <a:pt x="892584" y="591416"/>
                        <a:pt x="892584" y="591416"/>
                        <a:pt x="892584" y="662802"/>
                      </a:cubicBezTo>
                      <a:cubicBezTo>
                        <a:pt x="892584" y="662802"/>
                        <a:pt x="892584" y="662802"/>
                        <a:pt x="892584" y="694212"/>
                      </a:cubicBezTo>
                      <a:cubicBezTo>
                        <a:pt x="892584" y="694212"/>
                        <a:pt x="892584" y="694212"/>
                        <a:pt x="892584" y="765598"/>
                      </a:cubicBezTo>
                      <a:cubicBezTo>
                        <a:pt x="892584" y="765598"/>
                        <a:pt x="892584" y="765598"/>
                        <a:pt x="892584" y="796294"/>
                      </a:cubicBezTo>
                      <a:cubicBezTo>
                        <a:pt x="892584" y="796294"/>
                        <a:pt x="892584" y="796294"/>
                        <a:pt x="892584" y="884098"/>
                      </a:cubicBezTo>
                      <a:cubicBezTo>
                        <a:pt x="892584" y="884098"/>
                        <a:pt x="892584" y="884098"/>
                        <a:pt x="892584" y="899803"/>
                      </a:cubicBezTo>
                      <a:cubicBezTo>
                        <a:pt x="892584" y="899803"/>
                        <a:pt x="892584" y="899803"/>
                        <a:pt x="892584" y="911225"/>
                      </a:cubicBezTo>
                      <a:cubicBezTo>
                        <a:pt x="892584" y="911225"/>
                        <a:pt x="892584" y="911225"/>
                        <a:pt x="1068387" y="911225"/>
                      </a:cubicBezTo>
                      <a:cubicBezTo>
                        <a:pt x="1068387" y="911225"/>
                        <a:pt x="1068387" y="911225"/>
                        <a:pt x="1068387" y="31750"/>
                      </a:cubicBezTo>
                      <a:cubicBezTo>
                        <a:pt x="1068387" y="31750"/>
                        <a:pt x="1068387" y="31750"/>
                        <a:pt x="444500" y="31750"/>
                      </a:cubicBezTo>
                      <a:close/>
                      <a:moveTo>
                        <a:pt x="427911" y="0"/>
                      </a:moveTo>
                      <a:cubicBezTo>
                        <a:pt x="428625" y="0"/>
                        <a:pt x="428625" y="0"/>
                        <a:pt x="429339" y="0"/>
                      </a:cubicBezTo>
                      <a:cubicBezTo>
                        <a:pt x="429339" y="0"/>
                        <a:pt x="429339" y="0"/>
                        <a:pt x="1084421" y="0"/>
                      </a:cubicBezTo>
                      <a:cubicBezTo>
                        <a:pt x="1085135" y="0"/>
                        <a:pt x="1085850" y="0"/>
                        <a:pt x="1086564" y="0"/>
                      </a:cubicBezTo>
                      <a:cubicBezTo>
                        <a:pt x="1094422" y="714"/>
                        <a:pt x="1100137" y="7853"/>
                        <a:pt x="1100137" y="15706"/>
                      </a:cubicBezTo>
                      <a:cubicBezTo>
                        <a:pt x="1100137" y="15706"/>
                        <a:pt x="1100137" y="15706"/>
                        <a:pt x="1100137" y="926642"/>
                      </a:cubicBezTo>
                      <a:cubicBezTo>
                        <a:pt x="1100137" y="935208"/>
                        <a:pt x="1092993" y="942347"/>
                        <a:pt x="1084421" y="942347"/>
                      </a:cubicBezTo>
                      <a:cubicBezTo>
                        <a:pt x="1084421" y="942347"/>
                        <a:pt x="1084421" y="942347"/>
                        <a:pt x="892969" y="942347"/>
                      </a:cubicBezTo>
                      <a:cubicBezTo>
                        <a:pt x="892969" y="942347"/>
                        <a:pt x="892969" y="942347"/>
                        <a:pt x="892969" y="958053"/>
                      </a:cubicBezTo>
                      <a:cubicBezTo>
                        <a:pt x="892969" y="958053"/>
                        <a:pt x="892969" y="958053"/>
                        <a:pt x="892969" y="973759"/>
                      </a:cubicBezTo>
                      <a:cubicBezTo>
                        <a:pt x="892969" y="973759"/>
                        <a:pt x="892969" y="973759"/>
                        <a:pt x="892969" y="1051574"/>
                      </a:cubicBezTo>
                      <a:cubicBezTo>
                        <a:pt x="892969" y="1060141"/>
                        <a:pt x="886539" y="1067280"/>
                        <a:pt x="877252" y="1067280"/>
                      </a:cubicBezTo>
                      <a:cubicBezTo>
                        <a:pt x="877252" y="1067280"/>
                        <a:pt x="877252" y="1067280"/>
                        <a:pt x="686514" y="1067280"/>
                      </a:cubicBezTo>
                      <a:cubicBezTo>
                        <a:pt x="686514" y="1067280"/>
                        <a:pt x="686514" y="1067280"/>
                        <a:pt x="686514" y="1176506"/>
                      </a:cubicBezTo>
                      <a:cubicBezTo>
                        <a:pt x="686514" y="1185073"/>
                        <a:pt x="679371" y="1192212"/>
                        <a:pt x="670798" y="1192212"/>
                      </a:cubicBezTo>
                      <a:cubicBezTo>
                        <a:pt x="670798" y="1192212"/>
                        <a:pt x="670798" y="1192212"/>
                        <a:pt x="15716" y="1192212"/>
                      </a:cubicBezTo>
                      <a:cubicBezTo>
                        <a:pt x="7144" y="1192212"/>
                        <a:pt x="0" y="1185073"/>
                        <a:pt x="0" y="1176506"/>
                      </a:cubicBezTo>
                      <a:cubicBezTo>
                        <a:pt x="0" y="1176506"/>
                        <a:pt x="0" y="1176506"/>
                        <a:pt x="0" y="265571"/>
                      </a:cubicBezTo>
                      <a:cubicBezTo>
                        <a:pt x="0" y="257004"/>
                        <a:pt x="7144" y="249865"/>
                        <a:pt x="15716" y="249865"/>
                      </a:cubicBezTo>
                      <a:cubicBezTo>
                        <a:pt x="15716" y="249865"/>
                        <a:pt x="15716" y="249865"/>
                        <a:pt x="207169" y="249865"/>
                      </a:cubicBezTo>
                      <a:cubicBezTo>
                        <a:pt x="207169" y="249865"/>
                        <a:pt x="207169" y="249865"/>
                        <a:pt x="207169" y="140638"/>
                      </a:cubicBezTo>
                      <a:cubicBezTo>
                        <a:pt x="207169" y="132072"/>
                        <a:pt x="213598" y="124933"/>
                        <a:pt x="222885" y="124933"/>
                      </a:cubicBezTo>
                      <a:cubicBezTo>
                        <a:pt x="222885" y="124933"/>
                        <a:pt x="222885" y="124933"/>
                        <a:pt x="382191" y="124933"/>
                      </a:cubicBezTo>
                      <a:cubicBezTo>
                        <a:pt x="382191" y="124933"/>
                        <a:pt x="382191" y="124933"/>
                        <a:pt x="397907" y="124933"/>
                      </a:cubicBezTo>
                      <a:cubicBezTo>
                        <a:pt x="397907" y="124933"/>
                        <a:pt x="397907" y="124933"/>
                        <a:pt x="413623" y="124933"/>
                      </a:cubicBezTo>
                      <a:cubicBezTo>
                        <a:pt x="413623" y="124933"/>
                        <a:pt x="413623" y="124933"/>
                        <a:pt x="413623" y="15706"/>
                      </a:cubicBezTo>
                      <a:cubicBezTo>
                        <a:pt x="413623" y="7853"/>
                        <a:pt x="420053" y="714"/>
                        <a:pt x="427911" y="0"/>
                      </a:cubicBezTo>
                      <a:close/>
                    </a:path>
                  </a:pathLst>
                </a:custGeom>
                <a:solidFill>
                  <a:srgbClr val="05193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35"/>
                <p:cNvSpPr>
                  <a:spLocks/>
                </p:cNvSpPr>
                <p:nvPr/>
              </p:nvSpPr>
              <p:spPr bwMode="auto">
                <a:xfrm>
                  <a:off x="5661025" y="3036888"/>
                  <a:ext cx="869950" cy="896937"/>
                </a:xfrm>
                <a:custGeom>
                  <a:avLst/>
                  <a:gdLst>
                    <a:gd name="connsiteX0" fmla="*/ 15044 w 869950"/>
                    <a:gd name="connsiteY0" fmla="*/ 866775 h 896937"/>
                    <a:gd name="connsiteX1" fmla="*/ 90979 w 869950"/>
                    <a:gd name="connsiteY1" fmla="*/ 866775 h 896937"/>
                    <a:gd name="connsiteX2" fmla="*/ 106740 w 869950"/>
                    <a:gd name="connsiteY2" fmla="*/ 866775 h 896937"/>
                    <a:gd name="connsiteX3" fmla="*/ 122500 w 869950"/>
                    <a:gd name="connsiteY3" fmla="*/ 866775 h 896937"/>
                    <a:gd name="connsiteX4" fmla="*/ 136111 w 869950"/>
                    <a:gd name="connsiteY4" fmla="*/ 866775 h 896937"/>
                    <a:gd name="connsiteX5" fmla="*/ 440568 w 869950"/>
                    <a:gd name="connsiteY5" fmla="*/ 866775 h 896937"/>
                    <a:gd name="connsiteX6" fmla="*/ 454179 w 869950"/>
                    <a:gd name="connsiteY6" fmla="*/ 875894 h 896937"/>
                    <a:gd name="connsiteX7" fmla="*/ 455612 w 869950"/>
                    <a:gd name="connsiteY7" fmla="*/ 882207 h 896937"/>
                    <a:gd name="connsiteX8" fmla="*/ 455612 w 869950"/>
                    <a:gd name="connsiteY8" fmla="*/ 883610 h 896937"/>
                    <a:gd name="connsiteX9" fmla="*/ 454896 w 869950"/>
                    <a:gd name="connsiteY9" fmla="*/ 887117 h 896937"/>
                    <a:gd name="connsiteX10" fmla="*/ 445583 w 869950"/>
                    <a:gd name="connsiteY10" fmla="*/ 896236 h 896937"/>
                    <a:gd name="connsiteX11" fmla="*/ 444150 w 869950"/>
                    <a:gd name="connsiteY11" fmla="*/ 896937 h 896937"/>
                    <a:gd name="connsiteX12" fmla="*/ 443434 w 869950"/>
                    <a:gd name="connsiteY12" fmla="*/ 896937 h 896937"/>
                    <a:gd name="connsiteX13" fmla="*/ 440568 w 869950"/>
                    <a:gd name="connsiteY13" fmla="*/ 896937 h 896937"/>
                    <a:gd name="connsiteX14" fmla="*/ 106740 w 869950"/>
                    <a:gd name="connsiteY14" fmla="*/ 896937 h 896937"/>
                    <a:gd name="connsiteX15" fmla="*/ 90979 w 869950"/>
                    <a:gd name="connsiteY15" fmla="*/ 896937 h 896937"/>
                    <a:gd name="connsiteX16" fmla="*/ 15044 w 869950"/>
                    <a:gd name="connsiteY16" fmla="*/ 896937 h 896937"/>
                    <a:gd name="connsiteX17" fmla="*/ 14328 w 869950"/>
                    <a:gd name="connsiteY17" fmla="*/ 896937 h 896937"/>
                    <a:gd name="connsiteX18" fmla="*/ 0 w 869950"/>
                    <a:gd name="connsiteY18" fmla="*/ 882207 h 896937"/>
                    <a:gd name="connsiteX19" fmla="*/ 15044 w 869950"/>
                    <a:gd name="connsiteY19" fmla="*/ 866775 h 896937"/>
                    <a:gd name="connsiteX20" fmla="*/ 15044 w 869950"/>
                    <a:gd name="connsiteY20" fmla="*/ 763587 h 896937"/>
                    <a:gd name="connsiteX21" fmla="*/ 90979 w 869950"/>
                    <a:gd name="connsiteY21" fmla="*/ 763587 h 896937"/>
                    <a:gd name="connsiteX22" fmla="*/ 106740 w 869950"/>
                    <a:gd name="connsiteY22" fmla="*/ 763587 h 896937"/>
                    <a:gd name="connsiteX23" fmla="*/ 122500 w 869950"/>
                    <a:gd name="connsiteY23" fmla="*/ 763587 h 896937"/>
                    <a:gd name="connsiteX24" fmla="*/ 136111 w 869950"/>
                    <a:gd name="connsiteY24" fmla="*/ 763587 h 896937"/>
                    <a:gd name="connsiteX25" fmla="*/ 151871 w 869950"/>
                    <a:gd name="connsiteY25" fmla="*/ 763587 h 896937"/>
                    <a:gd name="connsiteX26" fmla="*/ 167631 w 869950"/>
                    <a:gd name="connsiteY26" fmla="*/ 763587 h 896937"/>
                    <a:gd name="connsiteX27" fmla="*/ 209181 w 869950"/>
                    <a:gd name="connsiteY27" fmla="*/ 763587 h 896937"/>
                    <a:gd name="connsiteX28" fmla="*/ 266490 w 869950"/>
                    <a:gd name="connsiteY28" fmla="*/ 763587 h 896937"/>
                    <a:gd name="connsiteX29" fmla="*/ 282250 w 869950"/>
                    <a:gd name="connsiteY29" fmla="*/ 763587 h 896937"/>
                    <a:gd name="connsiteX30" fmla="*/ 298011 w 869950"/>
                    <a:gd name="connsiteY30" fmla="*/ 763587 h 896937"/>
                    <a:gd name="connsiteX31" fmla="*/ 313771 w 869950"/>
                    <a:gd name="connsiteY31" fmla="*/ 763587 h 896937"/>
                    <a:gd name="connsiteX32" fmla="*/ 440568 w 869950"/>
                    <a:gd name="connsiteY32" fmla="*/ 763587 h 896937"/>
                    <a:gd name="connsiteX33" fmla="*/ 450598 w 869950"/>
                    <a:gd name="connsiteY33" fmla="*/ 767917 h 896937"/>
                    <a:gd name="connsiteX34" fmla="*/ 452030 w 869950"/>
                    <a:gd name="connsiteY34" fmla="*/ 769360 h 896937"/>
                    <a:gd name="connsiteX35" fmla="*/ 454179 w 869950"/>
                    <a:gd name="connsiteY35" fmla="*/ 772246 h 896937"/>
                    <a:gd name="connsiteX36" fmla="*/ 455612 w 869950"/>
                    <a:gd name="connsiteY36" fmla="*/ 778019 h 896937"/>
                    <a:gd name="connsiteX37" fmla="*/ 455612 w 869950"/>
                    <a:gd name="connsiteY37" fmla="*/ 779462 h 896937"/>
                    <a:gd name="connsiteX38" fmla="*/ 455612 w 869950"/>
                    <a:gd name="connsiteY38" fmla="*/ 782348 h 896937"/>
                    <a:gd name="connsiteX39" fmla="*/ 454896 w 869950"/>
                    <a:gd name="connsiteY39" fmla="*/ 783792 h 896937"/>
                    <a:gd name="connsiteX40" fmla="*/ 454896 w 869950"/>
                    <a:gd name="connsiteY40" fmla="*/ 784513 h 896937"/>
                    <a:gd name="connsiteX41" fmla="*/ 447732 w 869950"/>
                    <a:gd name="connsiteY41" fmla="*/ 793894 h 896937"/>
                    <a:gd name="connsiteX42" fmla="*/ 445583 w 869950"/>
                    <a:gd name="connsiteY42" fmla="*/ 794616 h 896937"/>
                    <a:gd name="connsiteX43" fmla="*/ 444867 w 869950"/>
                    <a:gd name="connsiteY43" fmla="*/ 794616 h 896937"/>
                    <a:gd name="connsiteX44" fmla="*/ 443434 w 869950"/>
                    <a:gd name="connsiteY44" fmla="*/ 795337 h 896937"/>
                    <a:gd name="connsiteX45" fmla="*/ 440568 w 869950"/>
                    <a:gd name="connsiteY45" fmla="*/ 795337 h 896937"/>
                    <a:gd name="connsiteX46" fmla="*/ 287981 w 869950"/>
                    <a:gd name="connsiteY46" fmla="*/ 795337 h 896937"/>
                    <a:gd name="connsiteX47" fmla="*/ 270072 w 869950"/>
                    <a:gd name="connsiteY47" fmla="*/ 795337 h 896937"/>
                    <a:gd name="connsiteX48" fmla="*/ 167631 w 869950"/>
                    <a:gd name="connsiteY48" fmla="*/ 795337 h 896937"/>
                    <a:gd name="connsiteX49" fmla="*/ 151871 w 869950"/>
                    <a:gd name="connsiteY49" fmla="*/ 795337 h 896937"/>
                    <a:gd name="connsiteX50" fmla="*/ 136111 w 869950"/>
                    <a:gd name="connsiteY50" fmla="*/ 795337 h 896937"/>
                    <a:gd name="connsiteX51" fmla="*/ 122500 w 869950"/>
                    <a:gd name="connsiteY51" fmla="*/ 795337 h 896937"/>
                    <a:gd name="connsiteX52" fmla="*/ 106740 w 869950"/>
                    <a:gd name="connsiteY52" fmla="*/ 795337 h 896937"/>
                    <a:gd name="connsiteX53" fmla="*/ 90979 w 869950"/>
                    <a:gd name="connsiteY53" fmla="*/ 795337 h 896937"/>
                    <a:gd name="connsiteX54" fmla="*/ 15044 w 869950"/>
                    <a:gd name="connsiteY54" fmla="*/ 795337 h 896937"/>
                    <a:gd name="connsiteX55" fmla="*/ 0 w 869950"/>
                    <a:gd name="connsiteY55" fmla="*/ 779462 h 896937"/>
                    <a:gd name="connsiteX56" fmla="*/ 15044 w 869950"/>
                    <a:gd name="connsiteY56" fmla="*/ 763587 h 896937"/>
                    <a:gd name="connsiteX57" fmla="*/ 601663 w 869950"/>
                    <a:gd name="connsiteY57" fmla="*/ 741362 h 896937"/>
                    <a:gd name="connsiteX58" fmla="*/ 646907 w 869950"/>
                    <a:gd name="connsiteY58" fmla="*/ 741362 h 896937"/>
                    <a:gd name="connsiteX59" fmla="*/ 660552 w 869950"/>
                    <a:gd name="connsiteY59" fmla="*/ 750481 h 896937"/>
                    <a:gd name="connsiteX60" fmla="*/ 661988 w 869950"/>
                    <a:gd name="connsiteY60" fmla="*/ 756794 h 896937"/>
                    <a:gd name="connsiteX61" fmla="*/ 661270 w 869950"/>
                    <a:gd name="connsiteY61" fmla="*/ 761704 h 896937"/>
                    <a:gd name="connsiteX62" fmla="*/ 646907 w 869950"/>
                    <a:gd name="connsiteY62" fmla="*/ 771524 h 896937"/>
                    <a:gd name="connsiteX63" fmla="*/ 601663 w 869950"/>
                    <a:gd name="connsiteY63" fmla="*/ 771524 h 896937"/>
                    <a:gd name="connsiteX64" fmla="*/ 601663 w 869950"/>
                    <a:gd name="connsiteY64" fmla="*/ 761704 h 896937"/>
                    <a:gd name="connsiteX65" fmla="*/ 601663 w 869950"/>
                    <a:gd name="connsiteY65" fmla="*/ 750481 h 896937"/>
                    <a:gd name="connsiteX66" fmla="*/ 601663 w 869950"/>
                    <a:gd name="connsiteY66" fmla="*/ 741362 h 896937"/>
                    <a:gd name="connsiteX67" fmla="*/ 15044 w 869950"/>
                    <a:gd name="connsiteY67" fmla="*/ 661987 h 896937"/>
                    <a:gd name="connsiteX68" fmla="*/ 90979 w 869950"/>
                    <a:gd name="connsiteY68" fmla="*/ 661987 h 896937"/>
                    <a:gd name="connsiteX69" fmla="*/ 106740 w 869950"/>
                    <a:gd name="connsiteY69" fmla="*/ 661987 h 896937"/>
                    <a:gd name="connsiteX70" fmla="*/ 122500 w 869950"/>
                    <a:gd name="connsiteY70" fmla="*/ 661987 h 896937"/>
                    <a:gd name="connsiteX71" fmla="*/ 136111 w 869950"/>
                    <a:gd name="connsiteY71" fmla="*/ 661987 h 896937"/>
                    <a:gd name="connsiteX72" fmla="*/ 151871 w 869950"/>
                    <a:gd name="connsiteY72" fmla="*/ 661987 h 896937"/>
                    <a:gd name="connsiteX73" fmla="*/ 167631 w 869950"/>
                    <a:gd name="connsiteY73" fmla="*/ 661987 h 896937"/>
                    <a:gd name="connsiteX74" fmla="*/ 209181 w 869950"/>
                    <a:gd name="connsiteY74" fmla="*/ 661987 h 896937"/>
                    <a:gd name="connsiteX75" fmla="*/ 266490 w 869950"/>
                    <a:gd name="connsiteY75" fmla="*/ 661987 h 896937"/>
                    <a:gd name="connsiteX76" fmla="*/ 282250 w 869950"/>
                    <a:gd name="connsiteY76" fmla="*/ 661987 h 896937"/>
                    <a:gd name="connsiteX77" fmla="*/ 298011 w 869950"/>
                    <a:gd name="connsiteY77" fmla="*/ 661987 h 896937"/>
                    <a:gd name="connsiteX78" fmla="*/ 313771 w 869950"/>
                    <a:gd name="connsiteY78" fmla="*/ 661987 h 896937"/>
                    <a:gd name="connsiteX79" fmla="*/ 329531 w 869950"/>
                    <a:gd name="connsiteY79" fmla="*/ 661987 h 896937"/>
                    <a:gd name="connsiteX80" fmla="*/ 343142 w 869950"/>
                    <a:gd name="connsiteY80" fmla="*/ 661987 h 896937"/>
                    <a:gd name="connsiteX81" fmla="*/ 358902 w 869950"/>
                    <a:gd name="connsiteY81" fmla="*/ 661987 h 896937"/>
                    <a:gd name="connsiteX82" fmla="*/ 374662 w 869950"/>
                    <a:gd name="connsiteY82" fmla="*/ 661987 h 896937"/>
                    <a:gd name="connsiteX83" fmla="*/ 440568 w 869950"/>
                    <a:gd name="connsiteY83" fmla="*/ 661987 h 896937"/>
                    <a:gd name="connsiteX84" fmla="*/ 454179 w 869950"/>
                    <a:gd name="connsiteY84" fmla="*/ 670404 h 896937"/>
                    <a:gd name="connsiteX85" fmla="*/ 455612 w 869950"/>
                    <a:gd name="connsiteY85" fmla="*/ 677419 h 896937"/>
                    <a:gd name="connsiteX86" fmla="*/ 440568 w 869950"/>
                    <a:gd name="connsiteY86" fmla="*/ 692149 h 896937"/>
                    <a:gd name="connsiteX87" fmla="*/ 374662 w 869950"/>
                    <a:gd name="connsiteY87" fmla="*/ 692149 h 896937"/>
                    <a:gd name="connsiteX88" fmla="*/ 358902 w 869950"/>
                    <a:gd name="connsiteY88" fmla="*/ 692149 h 896937"/>
                    <a:gd name="connsiteX89" fmla="*/ 343142 w 869950"/>
                    <a:gd name="connsiteY89" fmla="*/ 692149 h 896937"/>
                    <a:gd name="connsiteX90" fmla="*/ 329531 w 869950"/>
                    <a:gd name="connsiteY90" fmla="*/ 692149 h 896937"/>
                    <a:gd name="connsiteX91" fmla="*/ 313771 w 869950"/>
                    <a:gd name="connsiteY91" fmla="*/ 692149 h 896937"/>
                    <a:gd name="connsiteX92" fmla="*/ 298011 w 869950"/>
                    <a:gd name="connsiteY92" fmla="*/ 692149 h 896937"/>
                    <a:gd name="connsiteX93" fmla="*/ 282250 w 869950"/>
                    <a:gd name="connsiteY93" fmla="*/ 692149 h 896937"/>
                    <a:gd name="connsiteX94" fmla="*/ 266490 w 869950"/>
                    <a:gd name="connsiteY94" fmla="*/ 692149 h 896937"/>
                    <a:gd name="connsiteX95" fmla="*/ 167631 w 869950"/>
                    <a:gd name="connsiteY95" fmla="*/ 692149 h 896937"/>
                    <a:gd name="connsiteX96" fmla="*/ 151871 w 869950"/>
                    <a:gd name="connsiteY96" fmla="*/ 692149 h 896937"/>
                    <a:gd name="connsiteX97" fmla="*/ 136111 w 869950"/>
                    <a:gd name="connsiteY97" fmla="*/ 692149 h 896937"/>
                    <a:gd name="connsiteX98" fmla="*/ 122500 w 869950"/>
                    <a:gd name="connsiteY98" fmla="*/ 692149 h 896937"/>
                    <a:gd name="connsiteX99" fmla="*/ 106740 w 869950"/>
                    <a:gd name="connsiteY99" fmla="*/ 692149 h 896937"/>
                    <a:gd name="connsiteX100" fmla="*/ 90979 w 869950"/>
                    <a:gd name="connsiteY100" fmla="*/ 692149 h 896937"/>
                    <a:gd name="connsiteX101" fmla="*/ 15044 w 869950"/>
                    <a:gd name="connsiteY101" fmla="*/ 692149 h 896937"/>
                    <a:gd name="connsiteX102" fmla="*/ 0 w 869950"/>
                    <a:gd name="connsiteY102" fmla="*/ 677419 h 896937"/>
                    <a:gd name="connsiteX103" fmla="*/ 15044 w 869950"/>
                    <a:gd name="connsiteY103" fmla="*/ 661987 h 896937"/>
                    <a:gd name="connsiteX104" fmla="*/ 601663 w 869950"/>
                    <a:gd name="connsiteY104" fmla="*/ 638175 h 896937"/>
                    <a:gd name="connsiteX105" fmla="*/ 646907 w 869950"/>
                    <a:gd name="connsiteY105" fmla="*/ 638175 h 896937"/>
                    <a:gd name="connsiteX106" fmla="*/ 660552 w 869950"/>
                    <a:gd name="connsiteY106" fmla="*/ 646834 h 896937"/>
                    <a:gd name="connsiteX107" fmla="*/ 661988 w 869950"/>
                    <a:gd name="connsiteY107" fmla="*/ 654050 h 896937"/>
                    <a:gd name="connsiteX108" fmla="*/ 646907 w 869950"/>
                    <a:gd name="connsiteY108" fmla="*/ 669925 h 896937"/>
                    <a:gd name="connsiteX109" fmla="*/ 601663 w 869950"/>
                    <a:gd name="connsiteY109" fmla="*/ 669925 h 896937"/>
                    <a:gd name="connsiteX110" fmla="*/ 601663 w 869950"/>
                    <a:gd name="connsiteY110" fmla="*/ 646834 h 896937"/>
                    <a:gd name="connsiteX111" fmla="*/ 601663 w 869950"/>
                    <a:gd name="connsiteY111" fmla="*/ 638175 h 896937"/>
                    <a:gd name="connsiteX112" fmla="*/ 808038 w 869950"/>
                    <a:gd name="connsiteY112" fmla="*/ 615950 h 896937"/>
                    <a:gd name="connsiteX113" fmla="*/ 853926 w 869950"/>
                    <a:gd name="connsiteY113" fmla="*/ 615950 h 896937"/>
                    <a:gd name="connsiteX114" fmla="*/ 869950 w 869950"/>
                    <a:gd name="connsiteY114" fmla="*/ 631456 h 896937"/>
                    <a:gd name="connsiteX115" fmla="*/ 853926 w 869950"/>
                    <a:gd name="connsiteY115" fmla="*/ 647700 h 896937"/>
                    <a:gd name="connsiteX116" fmla="*/ 808038 w 869950"/>
                    <a:gd name="connsiteY116" fmla="*/ 647700 h 896937"/>
                    <a:gd name="connsiteX117" fmla="*/ 808038 w 869950"/>
                    <a:gd name="connsiteY117" fmla="*/ 615950 h 896937"/>
                    <a:gd name="connsiteX118" fmla="*/ 15044 w 869950"/>
                    <a:gd name="connsiteY118" fmla="*/ 558800 h 896937"/>
                    <a:gd name="connsiteX119" fmla="*/ 90979 w 869950"/>
                    <a:gd name="connsiteY119" fmla="*/ 558800 h 896937"/>
                    <a:gd name="connsiteX120" fmla="*/ 106740 w 869950"/>
                    <a:gd name="connsiteY120" fmla="*/ 558800 h 896937"/>
                    <a:gd name="connsiteX121" fmla="*/ 122500 w 869950"/>
                    <a:gd name="connsiteY121" fmla="*/ 558800 h 896937"/>
                    <a:gd name="connsiteX122" fmla="*/ 136111 w 869950"/>
                    <a:gd name="connsiteY122" fmla="*/ 558800 h 896937"/>
                    <a:gd name="connsiteX123" fmla="*/ 151871 w 869950"/>
                    <a:gd name="connsiteY123" fmla="*/ 558800 h 896937"/>
                    <a:gd name="connsiteX124" fmla="*/ 167631 w 869950"/>
                    <a:gd name="connsiteY124" fmla="*/ 558800 h 896937"/>
                    <a:gd name="connsiteX125" fmla="*/ 209181 w 869950"/>
                    <a:gd name="connsiteY125" fmla="*/ 558800 h 896937"/>
                    <a:gd name="connsiteX126" fmla="*/ 266490 w 869950"/>
                    <a:gd name="connsiteY126" fmla="*/ 558800 h 896937"/>
                    <a:gd name="connsiteX127" fmla="*/ 282250 w 869950"/>
                    <a:gd name="connsiteY127" fmla="*/ 558800 h 896937"/>
                    <a:gd name="connsiteX128" fmla="*/ 298011 w 869950"/>
                    <a:gd name="connsiteY128" fmla="*/ 558800 h 896937"/>
                    <a:gd name="connsiteX129" fmla="*/ 313771 w 869950"/>
                    <a:gd name="connsiteY129" fmla="*/ 558800 h 896937"/>
                    <a:gd name="connsiteX130" fmla="*/ 329531 w 869950"/>
                    <a:gd name="connsiteY130" fmla="*/ 558800 h 896937"/>
                    <a:gd name="connsiteX131" fmla="*/ 343142 w 869950"/>
                    <a:gd name="connsiteY131" fmla="*/ 558800 h 896937"/>
                    <a:gd name="connsiteX132" fmla="*/ 358902 w 869950"/>
                    <a:gd name="connsiteY132" fmla="*/ 558800 h 896937"/>
                    <a:gd name="connsiteX133" fmla="*/ 374662 w 869950"/>
                    <a:gd name="connsiteY133" fmla="*/ 558800 h 896937"/>
                    <a:gd name="connsiteX134" fmla="*/ 440568 w 869950"/>
                    <a:gd name="connsiteY134" fmla="*/ 558800 h 896937"/>
                    <a:gd name="connsiteX135" fmla="*/ 454179 w 869950"/>
                    <a:gd name="connsiteY135" fmla="*/ 567418 h 896937"/>
                    <a:gd name="connsiteX136" fmla="*/ 455612 w 869950"/>
                    <a:gd name="connsiteY136" fmla="*/ 573881 h 896937"/>
                    <a:gd name="connsiteX137" fmla="*/ 440568 w 869950"/>
                    <a:gd name="connsiteY137" fmla="*/ 588962 h 896937"/>
                    <a:gd name="connsiteX138" fmla="*/ 374662 w 869950"/>
                    <a:gd name="connsiteY138" fmla="*/ 588962 h 896937"/>
                    <a:gd name="connsiteX139" fmla="*/ 358902 w 869950"/>
                    <a:gd name="connsiteY139" fmla="*/ 588962 h 896937"/>
                    <a:gd name="connsiteX140" fmla="*/ 343142 w 869950"/>
                    <a:gd name="connsiteY140" fmla="*/ 588962 h 896937"/>
                    <a:gd name="connsiteX141" fmla="*/ 329531 w 869950"/>
                    <a:gd name="connsiteY141" fmla="*/ 588962 h 896937"/>
                    <a:gd name="connsiteX142" fmla="*/ 313771 w 869950"/>
                    <a:gd name="connsiteY142" fmla="*/ 588962 h 896937"/>
                    <a:gd name="connsiteX143" fmla="*/ 298011 w 869950"/>
                    <a:gd name="connsiteY143" fmla="*/ 588962 h 896937"/>
                    <a:gd name="connsiteX144" fmla="*/ 282250 w 869950"/>
                    <a:gd name="connsiteY144" fmla="*/ 588962 h 896937"/>
                    <a:gd name="connsiteX145" fmla="*/ 266490 w 869950"/>
                    <a:gd name="connsiteY145" fmla="*/ 588962 h 896937"/>
                    <a:gd name="connsiteX146" fmla="*/ 167631 w 869950"/>
                    <a:gd name="connsiteY146" fmla="*/ 588962 h 896937"/>
                    <a:gd name="connsiteX147" fmla="*/ 151871 w 869950"/>
                    <a:gd name="connsiteY147" fmla="*/ 588962 h 896937"/>
                    <a:gd name="connsiteX148" fmla="*/ 136111 w 869950"/>
                    <a:gd name="connsiteY148" fmla="*/ 588962 h 896937"/>
                    <a:gd name="connsiteX149" fmla="*/ 122500 w 869950"/>
                    <a:gd name="connsiteY149" fmla="*/ 588962 h 896937"/>
                    <a:gd name="connsiteX150" fmla="*/ 106740 w 869950"/>
                    <a:gd name="connsiteY150" fmla="*/ 588962 h 896937"/>
                    <a:gd name="connsiteX151" fmla="*/ 90979 w 869950"/>
                    <a:gd name="connsiteY151" fmla="*/ 588962 h 896937"/>
                    <a:gd name="connsiteX152" fmla="*/ 15044 w 869950"/>
                    <a:gd name="connsiteY152" fmla="*/ 588962 h 896937"/>
                    <a:gd name="connsiteX153" fmla="*/ 0 w 869950"/>
                    <a:gd name="connsiteY153" fmla="*/ 573881 h 896937"/>
                    <a:gd name="connsiteX154" fmla="*/ 15044 w 869950"/>
                    <a:gd name="connsiteY154" fmla="*/ 558800 h 896937"/>
                    <a:gd name="connsiteX155" fmla="*/ 601663 w 869950"/>
                    <a:gd name="connsiteY155" fmla="*/ 536575 h 896937"/>
                    <a:gd name="connsiteX156" fmla="*/ 646907 w 869950"/>
                    <a:gd name="connsiteY156" fmla="*/ 536575 h 896937"/>
                    <a:gd name="connsiteX157" fmla="*/ 660552 w 869950"/>
                    <a:gd name="connsiteY157" fmla="*/ 544992 h 896937"/>
                    <a:gd name="connsiteX158" fmla="*/ 661988 w 869950"/>
                    <a:gd name="connsiteY158" fmla="*/ 552007 h 896937"/>
                    <a:gd name="connsiteX159" fmla="*/ 646907 w 869950"/>
                    <a:gd name="connsiteY159" fmla="*/ 566737 h 896937"/>
                    <a:gd name="connsiteX160" fmla="*/ 601663 w 869950"/>
                    <a:gd name="connsiteY160" fmla="*/ 566737 h 896937"/>
                    <a:gd name="connsiteX161" fmla="*/ 601663 w 869950"/>
                    <a:gd name="connsiteY161" fmla="*/ 544992 h 896937"/>
                    <a:gd name="connsiteX162" fmla="*/ 601663 w 869950"/>
                    <a:gd name="connsiteY162" fmla="*/ 536575 h 896937"/>
                    <a:gd name="connsiteX163" fmla="*/ 808038 w 869950"/>
                    <a:gd name="connsiteY163" fmla="*/ 512762 h 896937"/>
                    <a:gd name="connsiteX164" fmla="*/ 853926 w 869950"/>
                    <a:gd name="connsiteY164" fmla="*/ 512762 h 896937"/>
                    <a:gd name="connsiteX165" fmla="*/ 869950 w 869950"/>
                    <a:gd name="connsiteY165" fmla="*/ 528637 h 896937"/>
                    <a:gd name="connsiteX166" fmla="*/ 853926 w 869950"/>
                    <a:gd name="connsiteY166" fmla="*/ 544512 h 896937"/>
                    <a:gd name="connsiteX167" fmla="*/ 808038 w 869950"/>
                    <a:gd name="connsiteY167" fmla="*/ 544512 h 896937"/>
                    <a:gd name="connsiteX168" fmla="*/ 808038 w 869950"/>
                    <a:gd name="connsiteY168" fmla="*/ 512762 h 896937"/>
                    <a:gd name="connsiteX169" fmla="*/ 15044 w 869950"/>
                    <a:gd name="connsiteY169" fmla="*/ 455612 h 896937"/>
                    <a:gd name="connsiteX170" fmla="*/ 90979 w 869950"/>
                    <a:gd name="connsiteY170" fmla="*/ 455612 h 896937"/>
                    <a:gd name="connsiteX171" fmla="*/ 106740 w 869950"/>
                    <a:gd name="connsiteY171" fmla="*/ 455612 h 896937"/>
                    <a:gd name="connsiteX172" fmla="*/ 122500 w 869950"/>
                    <a:gd name="connsiteY172" fmla="*/ 455612 h 896937"/>
                    <a:gd name="connsiteX173" fmla="*/ 136111 w 869950"/>
                    <a:gd name="connsiteY173" fmla="*/ 455612 h 896937"/>
                    <a:gd name="connsiteX174" fmla="*/ 151871 w 869950"/>
                    <a:gd name="connsiteY174" fmla="*/ 455612 h 896937"/>
                    <a:gd name="connsiteX175" fmla="*/ 167631 w 869950"/>
                    <a:gd name="connsiteY175" fmla="*/ 455612 h 896937"/>
                    <a:gd name="connsiteX176" fmla="*/ 208464 w 869950"/>
                    <a:gd name="connsiteY176" fmla="*/ 455612 h 896937"/>
                    <a:gd name="connsiteX177" fmla="*/ 266490 w 869950"/>
                    <a:gd name="connsiteY177" fmla="*/ 455612 h 896937"/>
                    <a:gd name="connsiteX178" fmla="*/ 282250 w 869950"/>
                    <a:gd name="connsiteY178" fmla="*/ 455612 h 896937"/>
                    <a:gd name="connsiteX179" fmla="*/ 298011 w 869950"/>
                    <a:gd name="connsiteY179" fmla="*/ 455612 h 896937"/>
                    <a:gd name="connsiteX180" fmla="*/ 313771 w 869950"/>
                    <a:gd name="connsiteY180" fmla="*/ 455612 h 896937"/>
                    <a:gd name="connsiteX181" fmla="*/ 329531 w 869950"/>
                    <a:gd name="connsiteY181" fmla="*/ 455612 h 896937"/>
                    <a:gd name="connsiteX182" fmla="*/ 343142 w 869950"/>
                    <a:gd name="connsiteY182" fmla="*/ 455612 h 896937"/>
                    <a:gd name="connsiteX183" fmla="*/ 358902 w 869950"/>
                    <a:gd name="connsiteY183" fmla="*/ 455612 h 896937"/>
                    <a:gd name="connsiteX184" fmla="*/ 374662 w 869950"/>
                    <a:gd name="connsiteY184" fmla="*/ 455612 h 896937"/>
                    <a:gd name="connsiteX185" fmla="*/ 440568 w 869950"/>
                    <a:gd name="connsiteY185" fmla="*/ 455612 h 896937"/>
                    <a:gd name="connsiteX186" fmla="*/ 454179 w 869950"/>
                    <a:gd name="connsiteY186" fmla="*/ 464029 h 896937"/>
                    <a:gd name="connsiteX187" fmla="*/ 455612 w 869950"/>
                    <a:gd name="connsiteY187" fmla="*/ 471044 h 896937"/>
                    <a:gd name="connsiteX188" fmla="*/ 440568 w 869950"/>
                    <a:gd name="connsiteY188" fmla="*/ 485774 h 896937"/>
                    <a:gd name="connsiteX189" fmla="*/ 374662 w 869950"/>
                    <a:gd name="connsiteY189" fmla="*/ 485774 h 896937"/>
                    <a:gd name="connsiteX190" fmla="*/ 358902 w 869950"/>
                    <a:gd name="connsiteY190" fmla="*/ 485774 h 896937"/>
                    <a:gd name="connsiteX191" fmla="*/ 343142 w 869950"/>
                    <a:gd name="connsiteY191" fmla="*/ 485774 h 896937"/>
                    <a:gd name="connsiteX192" fmla="*/ 329531 w 869950"/>
                    <a:gd name="connsiteY192" fmla="*/ 485774 h 896937"/>
                    <a:gd name="connsiteX193" fmla="*/ 313771 w 869950"/>
                    <a:gd name="connsiteY193" fmla="*/ 485774 h 896937"/>
                    <a:gd name="connsiteX194" fmla="*/ 298011 w 869950"/>
                    <a:gd name="connsiteY194" fmla="*/ 485774 h 896937"/>
                    <a:gd name="connsiteX195" fmla="*/ 282250 w 869950"/>
                    <a:gd name="connsiteY195" fmla="*/ 485774 h 896937"/>
                    <a:gd name="connsiteX196" fmla="*/ 266490 w 869950"/>
                    <a:gd name="connsiteY196" fmla="*/ 485774 h 896937"/>
                    <a:gd name="connsiteX197" fmla="*/ 167631 w 869950"/>
                    <a:gd name="connsiteY197" fmla="*/ 485774 h 896937"/>
                    <a:gd name="connsiteX198" fmla="*/ 151871 w 869950"/>
                    <a:gd name="connsiteY198" fmla="*/ 485774 h 896937"/>
                    <a:gd name="connsiteX199" fmla="*/ 136111 w 869950"/>
                    <a:gd name="connsiteY199" fmla="*/ 485774 h 896937"/>
                    <a:gd name="connsiteX200" fmla="*/ 122500 w 869950"/>
                    <a:gd name="connsiteY200" fmla="*/ 485774 h 896937"/>
                    <a:gd name="connsiteX201" fmla="*/ 106740 w 869950"/>
                    <a:gd name="connsiteY201" fmla="*/ 485774 h 896937"/>
                    <a:gd name="connsiteX202" fmla="*/ 90979 w 869950"/>
                    <a:gd name="connsiteY202" fmla="*/ 485774 h 896937"/>
                    <a:gd name="connsiteX203" fmla="*/ 15044 w 869950"/>
                    <a:gd name="connsiteY203" fmla="*/ 485774 h 896937"/>
                    <a:gd name="connsiteX204" fmla="*/ 0 w 869950"/>
                    <a:gd name="connsiteY204" fmla="*/ 471044 h 896937"/>
                    <a:gd name="connsiteX205" fmla="*/ 15044 w 869950"/>
                    <a:gd name="connsiteY205" fmla="*/ 455612 h 896937"/>
                    <a:gd name="connsiteX206" fmla="*/ 601663 w 869950"/>
                    <a:gd name="connsiteY206" fmla="*/ 433387 h 896937"/>
                    <a:gd name="connsiteX207" fmla="*/ 646907 w 869950"/>
                    <a:gd name="connsiteY207" fmla="*/ 433387 h 896937"/>
                    <a:gd name="connsiteX208" fmla="*/ 660552 w 869950"/>
                    <a:gd name="connsiteY208" fmla="*/ 442005 h 896937"/>
                    <a:gd name="connsiteX209" fmla="*/ 661988 w 869950"/>
                    <a:gd name="connsiteY209" fmla="*/ 448468 h 896937"/>
                    <a:gd name="connsiteX210" fmla="*/ 646907 w 869950"/>
                    <a:gd name="connsiteY210" fmla="*/ 463549 h 896937"/>
                    <a:gd name="connsiteX211" fmla="*/ 601663 w 869950"/>
                    <a:gd name="connsiteY211" fmla="*/ 463549 h 896937"/>
                    <a:gd name="connsiteX212" fmla="*/ 601663 w 869950"/>
                    <a:gd name="connsiteY212" fmla="*/ 442005 h 896937"/>
                    <a:gd name="connsiteX213" fmla="*/ 601663 w 869950"/>
                    <a:gd name="connsiteY213" fmla="*/ 433387 h 896937"/>
                    <a:gd name="connsiteX214" fmla="*/ 808038 w 869950"/>
                    <a:gd name="connsiteY214" fmla="*/ 411162 h 896937"/>
                    <a:gd name="connsiteX215" fmla="*/ 853926 w 869950"/>
                    <a:gd name="connsiteY215" fmla="*/ 411162 h 896937"/>
                    <a:gd name="connsiteX216" fmla="*/ 869950 w 869950"/>
                    <a:gd name="connsiteY216" fmla="*/ 425892 h 896937"/>
                    <a:gd name="connsiteX217" fmla="*/ 853926 w 869950"/>
                    <a:gd name="connsiteY217" fmla="*/ 441324 h 896937"/>
                    <a:gd name="connsiteX218" fmla="*/ 808038 w 869950"/>
                    <a:gd name="connsiteY218" fmla="*/ 441324 h 896937"/>
                    <a:gd name="connsiteX219" fmla="*/ 808038 w 869950"/>
                    <a:gd name="connsiteY219" fmla="*/ 411162 h 896937"/>
                    <a:gd name="connsiteX220" fmla="*/ 15044 w 869950"/>
                    <a:gd name="connsiteY220" fmla="*/ 352425 h 896937"/>
                    <a:gd name="connsiteX221" fmla="*/ 90979 w 869950"/>
                    <a:gd name="connsiteY221" fmla="*/ 352425 h 896937"/>
                    <a:gd name="connsiteX222" fmla="*/ 106740 w 869950"/>
                    <a:gd name="connsiteY222" fmla="*/ 352425 h 896937"/>
                    <a:gd name="connsiteX223" fmla="*/ 122500 w 869950"/>
                    <a:gd name="connsiteY223" fmla="*/ 352425 h 896937"/>
                    <a:gd name="connsiteX224" fmla="*/ 136111 w 869950"/>
                    <a:gd name="connsiteY224" fmla="*/ 352425 h 896937"/>
                    <a:gd name="connsiteX225" fmla="*/ 151871 w 869950"/>
                    <a:gd name="connsiteY225" fmla="*/ 352425 h 896937"/>
                    <a:gd name="connsiteX226" fmla="*/ 167631 w 869950"/>
                    <a:gd name="connsiteY226" fmla="*/ 352425 h 896937"/>
                    <a:gd name="connsiteX227" fmla="*/ 209181 w 869950"/>
                    <a:gd name="connsiteY227" fmla="*/ 352425 h 896937"/>
                    <a:gd name="connsiteX228" fmla="*/ 266490 w 869950"/>
                    <a:gd name="connsiteY228" fmla="*/ 352425 h 896937"/>
                    <a:gd name="connsiteX229" fmla="*/ 282250 w 869950"/>
                    <a:gd name="connsiteY229" fmla="*/ 352425 h 896937"/>
                    <a:gd name="connsiteX230" fmla="*/ 298011 w 869950"/>
                    <a:gd name="connsiteY230" fmla="*/ 352425 h 896937"/>
                    <a:gd name="connsiteX231" fmla="*/ 313771 w 869950"/>
                    <a:gd name="connsiteY231" fmla="*/ 352425 h 896937"/>
                    <a:gd name="connsiteX232" fmla="*/ 329531 w 869950"/>
                    <a:gd name="connsiteY232" fmla="*/ 352425 h 896937"/>
                    <a:gd name="connsiteX233" fmla="*/ 343142 w 869950"/>
                    <a:gd name="connsiteY233" fmla="*/ 352425 h 896937"/>
                    <a:gd name="connsiteX234" fmla="*/ 358902 w 869950"/>
                    <a:gd name="connsiteY234" fmla="*/ 352425 h 896937"/>
                    <a:gd name="connsiteX235" fmla="*/ 374662 w 869950"/>
                    <a:gd name="connsiteY235" fmla="*/ 352425 h 896937"/>
                    <a:gd name="connsiteX236" fmla="*/ 440568 w 869950"/>
                    <a:gd name="connsiteY236" fmla="*/ 352425 h 896937"/>
                    <a:gd name="connsiteX237" fmla="*/ 454179 w 869950"/>
                    <a:gd name="connsiteY237" fmla="*/ 361084 h 896937"/>
                    <a:gd name="connsiteX238" fmla="*/ 455612 w 869950"/>
                    <a:gd name="connsiteY238" fmla="*/ 368300 h 896937"/>
                    <a:gd name="connsiteX239" fmla="*/ 440568 w 869950"/>
                    <a:gd name="connsiteY239" fmla="*/ 384175 h 896937"/>
                    <a:gd name="connsiteX240" fmla="*/ 374662 w 869950"/>
                    <a:gd name="connsiteY240" fmla="*/ 384175 h 896937"/>
                    <a:gd name="connsiteX241" fmla="*/ 358902 w 869950"/>
                    <a:gd name="connsiteY241" fmla="*/ 384175 h 896937"/>
                    <a:gd name="connsiteX242" fmla="*/ 343142 w 869950"/>
                    <a:gd name="connsiteY242" fmla="*/ 384175 h 896937"/>
                    <a:gd name="connsiteX243" fmla="*/ 329531 w 869950"/>
                    <a:gd name="connsiteY243" fmla="*/ 384175 h 896937"/>
                    <a:gd name="connsiteX244" fmla="*/ 313771 w 869950"/>
                    <a:gd name="connsiteY244" fmla="*/ 384175 h 896937"/>
                    <a:gd name="connsiteX245" fmla="*/ 298011 w 869950"/>
                    <a:gd name="connsiteY245" fmla="*/ 384175 h 896937"/>
                    <a:gd name="connsiteX246" fmla="*/ 282250 w 869950"/>
                    <a:gd name="connsiteY246" fmla="*/ 384175 h 896937"/>
                    <a:gd name="connsiteX247" fmla="*/ 266490 w 869950"/>
                    <a:gd name="connsiteY247" fmla="*/ 384175 h 896937"/>
                    <a:gd name="connsiteX248" fmla="*/ 167631 w 869950"/>
                    <a:gd name="connsiteY248" fmla="*/ 384175 h 896937"/>
                    <a:gd name="connsiteX249" fmla="*/ 151871 w 869950"/>
                    <a:gd name="connsiteY249" fmla="*/ 384175 h 896937"/>
                    <a:gd name="connsiteX250" fmla="*/ 136111 w 869950"/>
                    <a:gd name="connsiteY250" fmla="*/ 384175 h 896937"/>
                    <a:gd name="connsiteX251" fmla="*/ 122500 w 869950"/>
                    <a:gd name="connsiteY251" fmla="*/ 384175 h 896937"/>
                    <a:gd name="connsiteX252" fmla="*/ 106740 w 869950"/>
                    <a:gd name="connsiteY252" fmla="*/ 384175 h 896937"/>
                    <a:gd name="connsiteX253" fmla="*/ 90979 w 869950"/>
                    <a:gd name="connsiteY253" fmla="*/ 384175 h 896937"/>
                    <a:gd name="connsiteX254" fmla="*/ 15044 w 869950"/>
                    <a:gd name="connsiteY254" fmla="*/ 384175 h 896937"/>
                    <a:gd name="connsiteX255" fmla="*/ 0 w 869950"/>
                    <a:gd name="connsiteY255" fmla="*/ 368300 h 896937"/>
                    <a:gd name="connsiteX256" fmla="*/ 15044 w 869950"/>
                    <a:gd name="connsiteY256" fmla="*/ 352425 h 896937"/>
                    <a:gd name="connsiteX257" fmla="*/ 601663 w 869950"/>
                    <a:gd name="connsiteY257" fmla="*/ 330200 h 896937"/>
                    <a:gd name="connsiteX258" fmla="*/ 646907 w 869950"/>
                    <a:gd name="connsiteY258" fmla="*/ 330200 h 896937"/>
                    <a:gd name="connsiteX259" fmla="*/ 660552 w 869950"/>
                    <a:gd name="connsiteY259" fmla="*/ 338617 h 896937"/>
                    <a:gd name="connsiteX260" fmla="*/ 661988 w 869950"/>
                    <a:gd name="connsiteY260" fmla="*/ 344930 h 896937"/>
                    <a:gd name="connsiteX261" fmla="*/ 646907 w 869950"/>
                    <a:gd name="connsiteY261" fmla="*/ 360362 h 896937"/>
                    <a:gd name="connsiteX262" fmla="*/ 601663 w 869950"/>
                    <a:gd name="connsiteY262" fmla="*/ 360362 h 896937"/>
                    <a:gd name="connsiteX263" fmla="*/ 601663 w 869950"/>
                    <a:gd name="connsiteY263" fmla="*/ 338617 h 896937"/>
                    <a:gd name="connsiteX264" fmla="*/ 601663 w 869950"/>
                    <a:gd name="connsiteY264" fmla="*/ 330200 h 896937"/>
                    <a:gd name="connsiteX265" fmla="*/ 808038 w 869950"/>
                    <a:gd name="connsiteY265" fmla="*/ 307975 h 896937"/>
                    <a:gd name="connsiteX266" fmla="*/ 853926 w 869950"/>
                    <a:gd name="connsiteY266" fmla="*/ 307975 h 896937"/>
                    <a:gd name="connsiteX267" fmla="*/ 869950 w 869950"/>
                    <a:gd name="connsiteY267" fmla="*/ 323056 h 896937"/>
                    <a:gd name="connsiteX268" fmla="*/ 853926 w 869950"/>
                    <a:gd name="connsiteY268" fmla="*/ 338137 h 896937"/>
                    <a:gd name="connsiteX269" fmla="*/ 808038 w 869950"/>
                    <a:gd name="connsiteY269" fmla="*/ 338137 h 896937"/>
                    <a:gd name="connsiteX270" fmla="*/ 808038 w 869950"/>
                    <a:gd name="connsiteY270" fmla="*/ 307975 h 896937"/>
                    <a:gd name="connsiteX271" fmla="*/ 15044 w 869950"/>
                    <a:gd name="connsiteY271" fmla="*/ 249237 h 896937"/>
                    <a:gd name="connsiteX272" fmla="*/ 90979 w 869950"/>
                    <a:gd name="connsiteY272" fmla="*/ 249237 h 896937"/>
                    <a:gd name="connsiteX273" fmla="*/ 106740 w 869950"/>
                    <a:gd name="connsiteY273" fmla="*/ 249237 h 896937"/>
                    <a:gd name="connsiteX274" fmla="*/ 122500 w 869950"/>
                    <a:gd name="connsiteY274" fmla="*/ 249237 h 896937"/>
                    <a:gd name="connsiteX275" fmla="*/ 136111 w 869950"/>
                    <a:gd name="connsiteY275" fmla="*/ 249237 h 896937"/>
                    <a:gd name="connsiteX276" fmla="*/ 151871 w 869950"/>
                    <a:gd name="connsiteY276" fmla="*/ 249237 h 896937"/>
                    <a:gd name="connsiteX277" fmla="*/ 167631 w 869950"/>
                    <a:gd name="connsiteY277" fmla="*/ 249237 h 896937"/>
                    <a:gd name="connsiteX278" fmla="*/ 209181 w 869950"/>
                    <a:gd name="connsiteY278" fmla="*/ 249237 h 896937"/>
                    <a:gd name="connsiteX279" fmla="*/ 266490 w 869950"/>
                    <a:gd name="connsiteY279" fmla="*/ 249237 h 896937"/>
                    <a:gd name="connsiteX280" fmla="*/ 282250 w 869950"/>
                    <a:gd name="connsiteY280" fmla="*/ 249237 h 896937"/>
                    <a:gd name="connsiteX281" fmla="*/ 298011 w 869950"/>
                    <a:gd name="connsiteY281" fmla="*/ 249237 h 896937"/>
                    <a:gd name="connsiteX282" fmla="*/ 313771 w 869950"/>
                    <a:gd name="connsiteY282" fmla="*/ 249237 h 896937"/>
                    <a:gd name="connsiteX283" fmla="*/ 329531 w 869950"/>
                    <a:gd name="connsiteY283" fmla="*/ 249237 h 896937"/>
                    <a:gd name="connsiteX284" fmla="*/ 343142 w 869950"/>
                    <a:gd name="connsiteY284" fmla="*/ 249237 h 896937"/>
                    <a:gd name="connsiteX285" fmla="*/ 358902 w 869950"/>
                    <a:gd name="connsiteY285" fmla="*/ 249237 h 896937"/>
                    <a:gd name="connsiteX286" fmla="*/ 374662 w 869950"/>
                    <a:gd name="connsiteY286" fmla="*/ 249237 h 896937"/>
                    <a:gd name="connsiteX287" fmla="*/ 440568 w 869950"/>
                    <a:gd name="connsiteY287" fmla="*/ 249237 h 896937"/>
                    <a:gd name="connsiteX288" fmla="*/ 454179 w 869950"/>
                    <a:gd name="connsiteY288" fmla="*/ 258097 h 896937"/>
                    <a:gd name="connsiteX289" fmla="*/ 455612 w 869950"/>
                    <a:gd name="connsiteY289" fmla="*/ 265481 h 896937"/>
                    <a:gd name="connsiteX290" fmla="*/ 440568 w 869950"/>
                    <a:gd name="connsiteY290" fmla="*/ 280987 h 896937"/>
                    <a:gd name="connsiteX291" fmla="*/ 374662 w 869950"/>
                    <a:gd name="connsiteY291" fmla="*/ 280987 h 896937"/>
                    <a:gd name="connsiteX292" fmla="*/ 358902 w 869950"/>
                    <a:gd name="connsiteY292" fmla="*/ 280987 h 896937"/>
                    <a:gd name="connsiteX293" fmla="*/ 343142 w 869950"/>
                    <a:gd name="connsiteY293" fmla="*/ 280987 h 896937"/>
                    <a:gd name="connsiteX294" fmla="*/ 329531 w 869950"/>
                    <a:gd name="connsiteY294" fmla="*/ 280987 h 896937"/>
                    <a:gd name="connsiteX295" fmla="*/ 313771 w 869950"/>
                    <a:gd name="connsiteY295" fmla="*/ 280987 h 896937"/>
                    <a:gd name="connsiteX296" fmla="*/ 298011 w 869950"/>
                    <a:gd name="connsiteY296" fmla="*/ 280987 h 896937"/>
                    <a:gd name="connsiteX297" fmla="*/ 282250 w 869950"/>
                    <a:gd name="connsiteY297" fmla="*/ 280987 h 896937"/>
                    <a:gd name="connsiteX298" fmla="*/ 266490 w 869950"/>
                    <a:gd name="connsiteY298" fmla="*/ 280987 h 896937"/>
                    <a:gd name="connsiteX299" fmla="*/ 167631 w 869950"/>
                    <a:gd name="connsiteY299" fmla="*/ 280987 h 896937"/>
                    <a:gd name="connsiteX300" fmla="*/ 151871 w 869950"/>
                    <a:gd name="connsiteY300" fmla="*/ 280987 h 896937"/>
                    <a:gd name="connsiteX301" fmla="*/ 136111 w 869950"/>
                    <a:gd name="connsiteY301" fmla="*/ 280987 h 896937"/>
                    <a:gd name="connsiteX302" fmla="*/ 122500 w 869950"/>
                    <a:gd name="connsiteY302" fmla="*/ 280987 h 896937"/>
                    <a:gd name="connsiteX303" fmla="*/ 106740 w 869950"/>
                    <a:gd name="connsiteY303" fmla="*/ 280987 h 896937"/>
                    <a:gd name="connsiteX304" fmla="*/ 90979 w 869950"/>
                    <a:gd name="connsiteY304" fmla="*/ 280987 h 896937"/>
                    <a:gd name="connsiteX305" fmla="*/ 15044 w 869950"/>
                    <a:gd name="connsiteY305" fmla="*/ 280987 h 896937"/>
                    <a:gd name="connsiteX306" fmla="*/ 0 w 869950"/>
                    <a:gd name="connsiteY306" fmla="*/ 265481 h 896937"/>
                    <a:gd name="connsiteX307" fmla="*/ 15044 w 869950"/>
                    <a:gd name="connsiteY307" fmla="*/ 249237 h 896937"/>
                    <a:gd name="connsiteX308" fmla="*/ 601663 w 869950"/>
                    <a:gd name="connsiteY308" fmla="*/ 227012 h 896937"/>
                    <a:gd name="connsiteX309" fmla="*/ 646907 w 869950"/>
                    <a:gd name="connsiteY309" fmla="*/ 227012 h 896937"/>
                    <a:gd name="connsiteX310" fmla="*/ 660552 w 869950"/>
                    <a:gd name="connsiteY310" fmla="*/ 235671 h 896937"/>
                    <a:gd name="connsiteX311" fmla="*/ 661988 w 869950"/>
                    <a:gd name="connsiteY311" fmla="*/ 242887 h 896937"/>
                    <a:gd name="connsiteX312" fmla="*/ 646907 w 869950"/>
                    <a:gd name="connsiteY312" fmla="*/ 258762 h 896937"/>
                    <a:gd name="connsiteX313" fmla="*/ 601663 w 869950"/>
                    <a:gd name="connsiteY313" fmla="*/ 258762 h 896937"/>
                    <a:gd name="connsiteX314" fmla="*/ 601663 w 869950"/>
                    <a:gd name="connsiteY314" fmla="*/ 235671 h 896937"/>
                    <a:gd name="connsiteX315" fmla="*/ 601663 w 869950"/>
                    <a:gd name="connsiteY315" fmla="*/ 227012 h 896937"/>
                    <a:gd name="connsiteX316" fmla="*/ 808038 w 869950"/>
                    <a:gd name="connsiteY316" fmla="*/ 204787 h 896937"/>
                    <a:gd name="connsiteX317" fmla="*/ 853926 w 869950"/>
                    <a:gd name="connsiteY317" fmla="*/ 204787 h 896937"/>
                    <a:gd name="connsiteX318" fmla="*/ 869950 w 869950"/>
                    <a:gd name="connsiteY318" fmla="*/ 219517 h 896937"/>
                    <a:gd name="connsiteX319" fmla="*/ 853926 w 869950"/>
                    <a:gd name="connsiteY319" fmla="*/ 234949 h 896937"/>
                    <a:gd name="connsiteX320" fmla="*/ 808038 w 869950"/>
                    <a:gd name="connsiteY320" fmla="*/ 234949 h 896937"/>
                    <a:gd name="connsiteX321" fmla="*/ 808038 w 869950"/>
                    <a:gd name="connsiteY321" fmla="*/ 204787 h 896937"/>
                    <a:gd name="connsiteX322" fmla="*/ 601663 w 869950"/>
                    <a:gd name="connsiteY322" fmla="*/ 125412 h 896937"/>
                    <a:gd name="connsiteX323" fmla="*/ 646907 w 869950"/>
                    <a:gd name="connsiteY323" fmla="*/ 125412 h 896937"/>
                    <a:gd name="connsiteX324" fmla="*/ 660552 w 869950"/>
                    <a:gd name="connsiteY324" fmla="*/ 133829 h 896937"/>
                    <a:gd name="connsiteX325" fmla="*/ 661988 w 869950"/>
                    <a:gd name="connsiteY325" fmla="*/ 140142 h 896937"/>
                    <a:gd name="connsiteX326" fmla="*/ 646907 w 869950"/>
                    <a:gd name="connsiteY326" fmla="*/ 155574 h 896937"/>
                    <a:gd name="connsiteX327" fmla="*/ 601663 w 869950"/>
                    <a:gd name="connsiteY327" fmla="*/ 155574 h 896937"/>
                    <a:gd name="connsiteX328" fmla="*/ 601663 w 869950"/>
                    <a:gd name="connsiteY328" fmla="*/ 133829 h 896937"/>
                    <a:gd name="connsiteX329" fmla="*/ 601663 w 869950"/>
                    <a:gd name="connsiteY329" fmla="*/ 125412 h 896937"/>
                    <a:gd name="connsiteX330" fmla="*/ 808038 w 869950"/>
                    <a:gd name="connsiteY330" fmla="*/ 101600 h 896937"/>
                    <a:gd name="connsiteX331" fmla="*/ 853926 w 869950"/>
                    <a:gd name="connsiteY331" fmla="*/ 101600 h 896937"/>
                    <a:gd name="connsiteX332" fmla="*/ 869950 w 869950"/>
                    <a:gd name="connsiteY332" fmla="*/ 117475 h 896937"/>
                    <a:gd name="connsiteX333" fmla="*/ 853926 w 869950"/>
                    <a:gd name="connsiteY333" fmla="*/ 133350 h 896937"/>
                    <a:gd name="connsiteX334" fmla="*/ 808038 w 869950"/>
                    <a:gd name="connsiteY334" fmla="*/ 133350 h 896937"/>
                    <a:gd name="connsiteX335" fmla="*/ 808038 w 869950"/>
                    <a:gd name="connsiteY335" fmla="*/ 101600 h 896937"/>
                    <a:gd name="connsiteX336" fmla="*/ 808038 w 869950"/>
                    <a:gd name="connsiteY336" fmla="*/ 0 h 896937"/>
                    <a:gd name="connsiteX337" fmla="*/ 853926 w 869950"/>
                    <a:gd name="connsiteY337" fmla="*/ 0 h 896937"/>
                    <a:gd name="connsiteX338" fmla="*/ 869950 w 869950"/>
                    <a:gd name="connsiteY338" fmla="*/ 14730 h 896937"/>
                    <a:gd name="connsiteX339" fmla="*/ 853926 w 869950"/>
                    <a:gd name="connsiteY339" fmla="*/ 30162 h 896937"/>
                    <a:gd name="connsiteX340" fmla="*/ 808038 w 869950"/>
                    <a:gd name="connsiteY340" fmla="*/ 30162 h 896937"/>
                    <a:gd name="connsiteX341" fmla="*/ 808038 w 869950"/>
                    <a:gd name="connsiteY341" fmla="*/ 0 h 896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</a:cxnLst>
                  <a:rect l="l" t="t" r="r" b="b"/>
                  <a:pathLst>
                    <a:path w="869950" h="896937">
                      <a:moveTo>
                        <a:pt x="15044" y="866775"/>
                      </a:moveTo>
                      <a:cubicBezTo>
                        <a:pt x="42266" y="866775"/>
                        <a:pt x="67339" y="866775"/>
                        <a:pt x="90979" y="866775"/>
                      </a:cubicBezTo>
                      <a:cubicBezTo>
                        <a:pt x="95994" y="866775"/>
                        <a:pt x="101009" y="866775"/>
                        <a:pt x="106740" y="866775"/>
                      </a:cubicBezTo>
                      <a:cubicBezTo>
                        <a:pt x="111754" y="866775"/>
                        <a:pt x="116769" y="866775"/>
                        <a:pt x="122500" y="866775"/>
                      </a:cubicBezTo>
                      <a:cubicBezTo>
                        <a:pt x="126798" y="866775"/>
                        <a:pt x="131096" y="866775"/>
                        <a:pt x="136111" y="866775"/>
                      </a:cubicBezTo>
                      <a:cubicBezTo>
                        <a:pt x="440568" y="866775"/>
                        <a:pt x="440568" y="866775"/>
                        <a:pt x="440568" y="866775"/>
                      </a:cubicBezTo>
                      <a:cubicBezTo>
                        <a:pt x="447016" y="866775"/>
                        <a:pt x="452030" y="870282"/>
                        <a:pt x="454179" y="875894"/>
                      </a:cubicBezTo>
                      <a:cubicBezTo>
                        <a:pt x="455612" y="877297"/>
                        <a:pt x="455612" y="879401"/>
                        <a:pt x="455612" y="882207"/>
                      </a:cubicBezTo>
                      <a:cubicBezTo>
                        <a:pt x="455612" y="882908"/>
                        <a:pt x="455612" y="882908"/>
                        <a:pt x="455612" y="883610"/>
                      </a:cubicBezTo>
                      <a:cubicBezTo>
                        <a:pt x="455612" y="885013"/>
                        <a:pt x="455612" y="885714"/>
                        <a:pt x="454896" y="887117"/>
                      </a:cubicBezTo>
                      <a:cubicBezTo>
                        <a:pt x="453463" y="891326"/>
                        <a:pt x="450598" y="894833"/>
                        <a:pt x="445583" y="896236"/>
                      </a:cubicBezTo>
                      <a:cubicBezTo>
                        <a:pt x="445583" y="896236"/>
                        <a:pt x="444867" y="896937"/>
                        <a:pt x="444150" y="896937"/>
                      </a:cubicBezTo>
                      <a:cubicBezTo>
                        <a:pt x="444150" y="896937"/>
                        <a:pt x="443434" y="896937"/>
                        <a:pt x="443434" y="896937"/>
                      </a:cubicBezTo>
                      <a:cubicBezTo>
                        <a:pt x="442718" y="896937"/>
                        <a:pt x="441285" y="896937"/>
                        <a:pt x="440568" y="896937"/>
                      </a:cubicBezTo>
                      <a:cubicBezTo>
                        <a:pt x="270072" y="896937"/>
                        <a:pt x="167631" y="896937"/>
                        <a:pt x="106740" y="896937"/>
                      </a:cubicBezTo>
                      <a:cubicBezTo>
                        <a:pt x="101009" y="896937"/>
                        <a:pt x="95278" y="896937"/>
                        <a:pt x="90979" y="896937"/>
                      </a:cubicBezTo>
                      <a:cubicBezTo>
                        <a:pt x="15044" y="896937"/>
                        <a:pt x="15044" y="896937"/>
                        <a:pt x="15044" y="896937"/>
                      </a:cubicBezTo>
                      <a:cubicBezTo>
                        <a:pt x="15044" y="896937"/>
                        <a:pt x="15044" y="896937"/>
                        <a:pt x="14328" y="896937"/>
                      </a:cubicBezTo>
                      <a:cubicBezTo>
                        <a:pt x="6448" y="896937"/>
                        <a:pt x="0" y="890624"/>
                        <a:pt x="0" y="882207"/>
                      </a:cubicBezTo>
                      <a:cubicBezTo>
                        <a:pt x="0" y="873790"/>
                        <a:pt x="6448" y="866775"/>
                        <a:pt x="15044" y="866775"/>
                      </a:cubicBezTo>
                      <a:close/>
                      <a:moveTo>
                        <a:pt x="15044" y="763587"/>
                      </a:moveTo>
                      <a:cubicBezTo>
                        <a:pt x="42266" y="763587"/>
                        <a:pt x="67339" y="763587"/>
                        <a:pt x="90979" y="763587"/>
                      </a:cubicBezTo>
                      <a:cubicBezTo>
                        <a:pt x="95994" y="763587"/>
                        <a:pt x="101009" y="763587"/>
                        <a:pt x="106740" y="763587"/>
                      </a:cubicBezTo>
                      <a:cubicBezTo>
                        <a:pt x="111754" y="763587"/>
                        <a:pt x="116769" y="763587"/>
                        <a:pt x="122500" y="763587"/>
                      </a:cubicBezTo>
                      <a:cubicBezTo>
                        <a:pt x="126798" y="763587"/>
                        <a:pt x="131096" y="763587"/>
                        <a:pt x="136111" y="763587"/>
                      </a:cubicBezTo>
                      <a:cubicBezTo>
                        <a:pt x="141125" y="763587"/>
                        <a:pt x="146140" y="763587"/>
                        <a:pt x="151871" y="763587"/>
                      </a:cubicBezTo>
                      <a:cubicBezTo>
                        <a:pt x="156886" y="763587"/>
                        <a:pt x="161900" y="763587"/>
                        <a:pt x="167631" y="763587"/>
                      </a:cubicBezTo>
                      <a:cubicBezTo>
                        <a:pt x="181958" y="763587"/>
                        <a:pt x="195570" y="763587"/>
                        <a:pt x="209181" y="763587"/>
                      </a:cubicBezTo>
                      <a:cubicBezTo>
                        <a:pt x="229955" y="763587"/>
                        <a:pt x="249297" y="763587"/>
                        <a:pt x="266490" y="763587"/>
                      </a:cubicBezTo>
                      <a:cubicBezTo>
                        <a:pt x="272221" y="763587"/>
                        <a:pt x="277236" y="763587"/>
                        <a:pt x="282250" y="763587"/>
                      </a:cubicBezTo>
                      <a:cubicBezTo>
                        <a:pt x="287981" y="763587"/>
                        <a:pt x="292996" y="763587"/>
                        <a:pt x="298011" y="763587"/>
                      </a:cubicBezTo>
                      <a:cubicBezTo>
                        <a:pt x="303742" y="763587"/>
                        <a:pt x="308756" y="763587"/>
                        <a:pt x="313771" y="763587"/>
                      </a:cubicBezTo>
                      <a:cubicBezTo>
                        <a:pt x="440568" y="763587"/>
                        <a:pt x="440568" y="763587"/>
                        <a:pt x="440568" y="763587"/>
                      </a:cubicBezTo>
                      <a:cubicBezTo>
                        <a:pt x="444867" y="763587"/>
                        <a:pt x="448449" y="765752"/>
                        <a:pt x="450598" y="767917"/>
                      </a:cubicBezTo>
                      <a:cubicBezTo>
                        <a:pt x="451314" y="767917"/>
                        <a:pt x="451314" y="768638"/>
                        <a:pt x="452030" y="769360"/>
                      </a:cubicBezTo>
                      <a:cubicBezTo>
                        <a:pt x="452747" y="770081"/>
                        <a:pt x="453463" y="771525"/>
                        <a:pt x="454179" y="772246"/>
                      </a:cubicBezTo>
                      <a:cubicBezTo>
                        <a:pt x="454896" y="774411"/>
                        <a:pt x="455612" y="775854"/>
                        <a:pt x="455612" y="778019"/>
                      </a:cubicBezTo>
                      <a:cubicBezTo>
                        <a:pt x="455612" y="778741"/>
                        <a:pt x="455612" y="778741"/>
                        <a:pt x="455612" y="779462"/>
                      </a:cubicBezTo>
                      <a:cubicBezTo>
                        <a:pt x="455612" y="780905"/>
                        <a:pt x="455612" y="781627"/>
                        <a:pt x="455612" y="782348"/>
                      </a:cubicBezTo>
                      <a:cubicBezTo>
                        <a:pt x="455612" y="783070"/>
                        <a:pt x="455612" y="783792"/>
                        <a:pt x="454896" y="783792"/>
                      </a:cubicBezTo>
                      <a:cubicBezTo>
                        <a:pt x="454896" y="784513"/>
                        <a:pt x="454896" y="784513"/>
                        <a:pt x="454896" y="784513"/>
                      </a:cubicBezTo>
                      <a:cubicBezTo>
                        <a:pt x="454179" y="788843"/>
                        <a:pt x="451314" y="791729"/>
                        <a:pt x="447732" y="793894"/>
                      </a:cubicBezTo>
                      <a:cubicBezTo>
                        <a:pt x="447016" y="793894"/>
                        <a:pt x="446299" y="794616"/>
                        <a:pt x="445583" y="794616"/>
                      </a:cubicBezTo>
                      <a:cubicBezTo>
                        <a:pt x="444867" y="794616"/>
                        <a:pt x="444867" y="794616"/>
                        <a:pt x="444867" y="794616"/>
                      </a:cubicBezTo>
                      <a:cubicBezTo>
                        <a:pt x="444150" y="794616"/>
                        <a:pt x="443434" y="794616"/>
                        <a:pt x="443434" y="795337"/>
                      </a:cubicBezTo>
                      <a:cubicBezTo>
                        <a:pt x="442001" y="795337"/>
                        <a:pt x="441285" y="795337"/>
                        <a:pt x="440568" y="795337"/>
                      </a:cubicBezTo>
                      <a:cubicBezTo>
                        <a:pt x="381826" y="795337"/>
                        <a:pt x="330964" y="795337"/>
                        <a:pt x="287981" y="795337"/>
                      </a:cubicBezTo>
                      <a:cubicBezTo>
                        <a:pt x="281534" y="795337"/>
                        <a:pt x="275803" y="795337"/>
                        <a:pt x="270072" y="795337"/>
                      </a:cubicBezTo>
                      <a:cubicBezTo>
                        <a:pt x="229955" y="795337"/>
                        <a:pt x="196286" y="795337"/>
                        <a:pt x="167631" y="795337"/>
                      </a:cubicBezTo>
                      <a:cubicBezTo>
                        <a:pt x="161900" y="795337"/>
                        <a:pt x="156886" y="795337"/>
                        <a:pt x="151871" y="795337"/>
                      </a:cubicBezTo>
                      <a:cubicBezTo>
                        <a:pt x="146140" y="795337"/>
                        <a:pt x="141125" y="795337"/>
                        <a:pt x="136111" y="795337"/>
                      </a:cubicBezTo>
                      <a:cubicBezTo>
                        <a:pt x="131096" y="795337"/>
                        <a:pt x="126798" y="795337"/>
                        <a:pt x="122500" y="795337"/>
                      </a:cubicBezTo>
                      <a:cubicBezTo>
                        <a:pt x="116769" y="795337"/>
                        <a:pt x="111038" y="795337"/>
                        <a:pt x="106740" y="795337"/>
                      </a:cubicBezTo>
                      <a:cubicBezTo>
                        <a:pt x="101009" y="795337"/>
                        <a:pt x="95278" y="795337"/>
                        <a:pt x="90979" y="795337"/>
                      </a:cubicBezTo>
                      <a:cubicBezTo>
                        <a:pt x="15044" y="795337"/>
                        <a:pt x="15044" y="795337"/>
                        <a:pt x="15044" y="795337"/>
                      </a:cubicBezTo>
                      <a:cubicBezTo>
                        <a:pt x="6448" y="795337"/>
                        <a:pt x="0" y="788843"/>
                        <a:pt x="0" y="779462"/>
                      </a:cubicBezTo>
                      <a:cubicBezTo>
                        <a:pt x="0" y="770803"/>
                        <a:pt x="6448" y="763587"/>
                        <a:pt x="15044" y="763587"/>
                      </a:cubicBezTo>
                      <a:close/>
                      <a:moveTo>
                        <a:pt x="601663" y="741362"/>
                      </a:moveTo>
                      <a:cubicBezTo>
                        <a:pt x="646907" y="741362"/>
                        <a:pt x="646907" y="741362"/>
                        <a:pt x="646907" y="741362"/>
                      </a:cubicBezTo>
                      <a:cubicBezTo>
                        <a:pt x="653370" y="741362"/>
                        <a:pt x="658397" y="744869"/>
                        <a:pt x="660552" y="750481"/>
                      </a:cubicBezTo>
                      <a:cubicBezTo>
                        <a:pt x="661270" y="751884"/>
                        <a:pt x="661988" y="753988"/>
                        <a:pt x="661988" y="756794"/>
                      </a:cubicBezTo>
                      <a:cubicBezTo>
                        <a:pt x="661988" y="758197"/>
                        <a:pt x="661988" y="760301"/>
                        <a:pt x="661270" y="761704"/>
                      </a:cubicBezTo>
                      <a:cubicBezTo>
                        <a:pt x="659116" y="767315"/>
                        <a:pt x="654089" y="771524"/>
                        <a:pt x="646907" y="771524"/>
                      </a:cubicBezTo>
                      <a:cubicBezTo>
                        <a:pt x="631108" y="771524"/>
                        <a:pt x="616026" y="771524"/>
                        <a:pt x="601663" y="771524"/>
                      </a:cubicBezTo>
                      <a:cubicBezTo>
                        <a:pt x="601663" y="771524"/>
                        <a:pt x="601663" y="771524"/>
                        <a:pt x="601663" y="761704"/>
                      </a:cubicBezTo>
                      <a:cubicBezTo>
                        <a:pt x="601663" y="761704"/>
                        <a:pt x="601663" y="761704"/>
                        <a:pt x="601663" y="750481"/>
                      </a:cubicBezTo>
                      <a:cubicBezTo>
                        <a:pt x="601663" y="750481"/>
                        <a:pt x="601663" y="750481"/>
                        <a:pt x="601663" y="741362"/>
                      </a:cubicBezTo>
                      <a:close/>
                      <a:moveTo>
                        <a:pt x="15044" y="661987"/>
                      </a:moveTo>
                      <a:cubicBezTo>
                        <a:pt x="42266" y="661987"/>
                        <a:pt x="67339" y="661987"/>
                        <a:pt x="90979" y="661987"/>
                      </a:cubicBezTo>
                      <a:cubicBezTo>
                        <a:pt x="95994" y="661987"/>
                        <a:pt x="101009" y="661987"/>
                        <a:pt x="106740" y="661987"/>
                      </a:cubicBezTo>
                      <a:cubicBezTo>
                        <a:pt x="111754" y="661987"/>
                        <a:pt x="116769" y="661987"/>
                        <a:pt x="122500" y="661987"/>
                      </a:cubicBezTo>
                      <a:cubicBezTo>
                        <a:pt x="126798" y="661987"/>
                        <a:pt x="131096" y="661987"/>
                        <a:pt x="136111" y="661987"/>
                      </a:cubicBezTo>
                      <a:cubicBezTo>
                        <a:pt x="141125" y="661987"/>
                        <a:pt x="146140" y="661987"/>
                        <a:pt x="151871" y="661987"/>
                      </a:cubicBezTo>
                      <a:cubicBezTo>
                        <a:pt x="156886" y="661987"/>
                        <a:pt x="161900" y="661987"/>
                        <a:pt x="167631" y="661987"/>
                      </a:cubicBezTo>
                      <a:cubicBezTo>
                        <a:pt x="181958" y="661987"/>
                        <a:pt x="195570" y="661987"/>
                        <a:pt x="209181" y="661987"/>
                      </a:cubicBezTo>
                      <a:cubicBezTo>
                        <a:pt x="229955" y="661987"/>
                        <a:pt x="249297" y="661987"/>
                        <a:pt x="266490" y="661987"/>
                      </a:cubicBezTo>
                      <a:cubicBezTo>
                        <a:pt x="272221" y="661987"/>
                        <a:pt x="277236" y="661987"/>
                        <a:pt x="282250" y="661987"/>
                      </a:cubicBezTo>
                      <a:cubicBezTo>
                        <a:pt x="287981" y="661987"/>
                        <a:pt x="292996" y="661987"/>
                        <a:pt x="298011" y="661987"/>
                      </a:cubicBezTo>
                      <a:cubicBezTo>
                        <a:pt x="303742" y="661987"/>
                        <a:pt x="308756" y="661987"/>
                        <a:pt x="313771" y="661987"/>
                      </a:cubicBezTo>
                      <a:cubicBezTo>
                        <a:pt x="319502" y="661987"/>
                        <a:pt x="324516" y="661987"/>
                        <a:pt x="329531" y="661987"/>
                      </a:cubicBezTo>
                      <a:cubicBezTo>
                        <a:pt x="334546" y="661987"/>
                        <a:pt x="338844" y="661987"/>
                        <a:pt x="343142" y="661987"/>
                      </a:cubicBezTo>
                      <a:cubicBezTo>
                        <a:pt x="348873" y="661987"/>
                        <a:pt x="354604" y="661987"/>
                        <a:pt x="358902" y="661987"/>
                      </a:cubicBezTo>
                      <a:cubicBezTo>
                        <a:pt x="364633" y="661987"/>
                        <a:pt x="370364" y="661987"/>
                        <a:pt x="374662" y="661987"/>
                      </a:cubicBezTo>
                      <a:cubicBezTo>
                        <a:pt x="440568" y="661987"/>
                        <a:pt x="440568" y="661987"/>
                        <a:pt x="440568" y="661987"/>
                      </a:cubicBezTo>
                      <a:cubicBezTo>
                        <a:pt x="447016" y="661987"/>
                        <a:pt x="452030" y="665494"/>
                        <a:pt x="454179" y="670404"/>
                      </a:cubicBezTo>
                      <a:cubicBezTo>
                        <a:pt x="455612" y="672509"/>
                        <a:pt x="455612" y="674613"/>
                        <a:pt x="455612" y="677419"/>
                      </a:cubicBezTo>
                      <a:cubicBezTo>
                        <a:pt x="455612" y="685836"/>
                        <a:pt x="449881" y="692149"/>
                        <a:pt x="440568" y="692149"/>
                      </a:cubicBezTo>
                      <a:cubicBezTo>
                        <a:pt x="417645" y="692149"/>
                        <a:pt x="395437" y="692149"/>
                        <a:pt x="374662" y="692149"/>
                      </a:cubicBezTo>
                      <a:cubicBezTo>
                        <a:pt x="369648" y="692149"/>
                        <a:pt x="364633" y="692149"/>
                        <a:pt x="358902" y="692149"/>
                      </a:cubicBezTo>
                      <a:cubicBezTo>
                        <a:pt x="353888" y="692149"/>
                        <a:pt x="348873" y="692149"/>
                        <a:pt x="343142" y="692149"/>
                      </a:cubicBezTo>
                      <a:cubicBezTo>
                        <a:pt x="338844" y="692149"/>
                        <a:pt x="334546" y="692149"/>
                        <a:pt x="329531" y="692149"/>
                      </a:cubicBezTo>
                      <a:cubicBezTo>
                        <a:pt x="324516" y="692149"/>
                        <a:pt x="319502" y="692149"/>
                        <a:pt x="313771" y="692149"/>
                      </a:cubicBezTo>
                      <a:cubicBezTo>
                        <a:pt x="308756" y="692149"/>
                        <a:pt x="303742" y="692149"/>
                        <a:pt x="298011" y="692149"/>
                      </a:cubicBezTo>
                      <a:cubicBezTo>
                        <a:pt x="292996" y="692149"/>
                        <a:pt x="287981" y="692149"/>
                        <a:pt x="282250" y="692149"/>
                      </a:cubicBezTo>
                      <a:cubicBezTo>
                        <a:pt x="277236" y="692149"/>
                        <a:pt x="272221" y="692149"/>
                        <a:pt x="266490" y="692149"/>
                      </a:cubicBezTo>
                      <a:cubicBezTo>
                        <a:pt x="227806" y="692149"/>
                        <a:pt x="194853" y="692149"/>
                        <a:pt x="167631" y="692149"/>
                      </a:cubicBezTo>
                      <a:cubicBezTo>
                        <a:pt x="161900" y="692149"/>
                        <a:pt x="156886" y="692149"/>
                        <a:pt x="151871" y="692149"/>
                      </a:cubicBezTo>
                      <a:cubicBezTo>
                        <a:pt x="146140" y="692149"/>
                        <a:pt x="141125" y="692149"/>
                        <a:pt x="136111" y="692149"/>
                      </a:cubicBezTo>
                      <a:cubicBezTo>
                        <a:pt x="131096" y="692149"/>
                        <a:pt x="126798" y="692149"/>
                        <a:pt x="122500" y="692149"/>
                      </a:cubicBezTo>
                      <a:cubicBezTo>
                        <a:pt x="116769" y="692149"/>
                        <a:pt x="111038" y="692149"/>
                        <a:pt x="106740" y="692149"/>
                      </a:cubicBezTo>
                      <a:cubicBezTo>
                        <a:pt x="101009" y="692149"/>
                        <a:pt x="95278" y="692149"/>
                        <a:pt x="90979" y="692149"/>
                      </a:cubicBezTo>
                      <a:cubicBezTo>
                        <a:pt x="15044" y="692149"/>
                        <a:pt x="15044" y="692149"/>
                        <a:pt x="15044" y="692149"/>
                      </a:cubicBezTo>
                      <a:cubicBezTo>
                        <a:pt x="6448" y="692149"/>
                        <a:pt x="0" y="685836"/>
                        <a:pt x="0" y="677419"/>
                      </a:cubicBezTo>
                      <a:cubicBezTo>
                        <a:pt x="0" y="669002"/>
                        <a:pt x="6448" y="661987"/>
                        <a:pt x="15044" y="661987"/>
                      </a:cubicBezTo>
                      <a:close/>
                      <a:moveTo>
                        <a:pt x="601663" y="638175"/>
                      </a:moveTo>
                      <a:cubicBezTo>
                        <a:pt x="646907" y="638175"/>
                        <a:pt x="646907" y="638175"/>
                        <a:pt x="646907" y="638175"/>
                      </a:cubicBezTo>
                      <a:cubicBezTo>
                        <a:pt x="653370" y="638175"/>
                        <a:pt x="658397" y="641783"/>
                        <a:pt x="660552" y="646834"/>
                      </a:cubicBezTo>
                      <a:cubicBezTo>
                        <a:pt x="661270" y="648999"/>
                        <a:pt x="661988" y="651885"/>
                        <a:pt x="661988" y="654050"/>
                      </a:cubicBezTo>
                      <a:cubicBezTo>
                        <a:pt x="661988" y="663431"/>
                        <a:pt x="655525" y="669925"/>
                        <a:pt x="646907" y="669925"/>
                      </a:cubicBezTo>
                      <a:cubicBezTo>
                        <a:pt x="631108" y="669925"/>
                        <a:pt x="616026" y="669925"/>
                        <a:pt x="601663" y="669925"/>
                      </a:cubicBezTo>
                      <a:cubicBezTo>
                        <a:pt x="601663" y="669925"/>
                        <a:pt x="601663" y="669925"/>
                        <a:pt x="601663" y="646834"/>
                      </a:cubicBezTo>
                      <a:cubicBezTo>
                        <a:pt x="601663" y="646834"/>
                        <a:pt x="601663" y="646834"/>
                        <a:pt x="601663" y="638175"/>
                      </a:cubicBezTo>
                      <a:close/>
                      <a:moveTo>
                        <a:pt x="808038" y="615950"/>
                      </a:moveTo>
                      <a:cubicBezTo>
                        <a:pt x="853926" y="615950"/>
                        <a:pt x="853926" y="615950"/>
                        <a:pt x="853926" y="615950"/>
                      </a:cubicBezTo>
                      <a:cubicBezTo>
                        <a:pt x="863395" y="615950"/>
                        <a:pt x="869950" y="623334"/>
                        <a:pt x="869950" y="631456"/>
                      </a:cubicBezTo>
                      <a:cubicBezTo>
                        <a:pt x="869950" y="640316"/>
                        <a:pt x="863395" y="647700"/>
                        <a:pt x="853926" y="647700"/>
                      </a:cubicBezTo>
                      <a:cubicBezTo>
                        <a:pt x="838630" y="647700"/>
                        <a:pt x="823334" y="647700"/>
                        <a:pt x="808038" y="647700"/>
                      </a:cubicBezTo>
                      <a:cubicBezTo>
                        <a:pt x="808038" y="647700"/>
                        <a:pt x="808038" y="647700"/>
                        <a:pt x="808038" y="615950"/>
                      </a:cubicBezTo>
                      <a:close/>
                      <a:moveTo>
                        <a:pt x="15044" y="558800"/>
                      </a:moveTo>
                      <a:cubicBezTo>
                        <a:pt x="42266" y="558800"/>
                        <a:pt x="67339" y="558800"/>
                        <a:pt x="90979" y="558800"/>
                      </a:cubicBezTo>
                      <a:cubicBezTo>
                        <a:pt x="95994" y="558800"/>
                        <a:pt x="101009" y="558800"/>
                        <a:pt x="106740" y="558800"/>
                      </a:cubicBezTo>
                      <a:cubicBezTo>
                        <a:pt x="111754" y="558800"/>
                        <a:pt x="116769" y="558800"/>
                        <a:pt x="122500" y="558800"/>
                      </a:cubicBezTo>
                      <a:cubicBezTo>
                        <a:pt x="126798" y="558800"/>
                        <a:pt x="131096" y="558800"/>
                        <a:pt x="136111" y="558800"/>
                      </a:cubicBezTo>
                      <a:cubicBezTo>
                        <a:pt x="141125" y="558800"/>
                        <a:pt x="146140" y="558800"/>
                        <a:pt x="151871" y="558800"/>
                      </a:cubicBezTo>
                      <a:cubicBezTo>
                        <a:pt x="156886" y="558800"/>
                        <a:pt x="161900" y="558800"/>
                        <a:pt x="167631" y="558800"/>
                      </a:cubicBezTo>
                      <a:cubicBezTo>
                        <a:pt x="181958" y="558800"/>
                        <a:pt x="195570" y="558800"/>
                        <a:pt x="209181" y="558800"/>
                      </a:cubicBezTo>
                      <a:cubicBezTo>
                        <a:pt x="229955" y="558800"/>
                        <a:pt x="249297" y="558800"/>
                        <a:pt x="266490" y="558800"/>
                      </a:cubicBezTo>
                      <a:cubicBezTo>
                        <a:pt x="272221" y="558800"/>
                        <a:pt x="277236" y="558800"/>
                        <a:pt x="282250" y="558800"/>
                      </a:cubicBezTo>
                      <a:cubicBezTo>
                        <a:pt x="287981" y="558800"/>
                        <a:pt x="292996" y="558800"/>
                        <a:pt x="298011" y="558800"/>
                      </a:cubicBezTo>
                      <a:cubicBezTo>
                        <a:pt x="303742" y="558800"/>
                        <a:pt x="308756" y="558800"/>
                        <a:pt x="313771" y="558800"/>
                      </a:cubicBezTo>
                      <a:cubicBezTo>
                        <a:pt x="319502" y="558800"/>
                        <a:pt x="324516" y="558800"/>
                        <a:pt x="329531" y="558800"/>
                      </a:cubicBezTo>
                      <a:cubicBezTo>
                        <a:pt x="334546" y="558800"/>
                        <a:pt x="338844" y="558800"/>
                        <a:pt x="343142" y="558800"/>
                      </a:cubicBezTo>
                      <a:cubicBezTo>
                        <a:pt x="348873" y="558800"/>
                        <a:pt x="354604" y="558800"/>
                        <a:pt x="358902" y="558800"/>
                      </a:cubicBezTo>
                      <a:cubicBezTo>
                        <a:pt x="364633" y="558800"/>
                        <a:pt x="370364" y="558800"/>
                        <a:pt x="374662" y="558800"/>
                      </a:cubicBezTo>
                      <a:cubicBezTo>
                        <a:pt x="440568" y="558800"/>
                        <a:pt x="440568" y="558800"/>
                        <a:pt x="440568" y="558800"/>
                      </a:cubicBezTo>
                      <a:cubicBezTo>
                        <a:pt x="447016" y="558800"/>
                        <a:pt x="452030" y="562391"/>
                        <a:pt x="454179" y="567418"/>
                      </a:cubicBezTo>
                      <a:cubicBezTo>
                        <a:pt x="455612" y="569572"/>
                        <a:pt x="455612" y="571727"/>
                        <a:pt x="455612" y="573881"/>
                      </a:cubicBezTo>
                      <a:cubicBezTo>
                        <a:pt x="455612" y="581781"/>
                        <a:pt x="449881" y="588962"/>
                        <a:pt x="440568" y="588962"/>
                      </a:cubicBezTo>
                      <a:cubicBezTo>
                        <a:pt x="417645" y="588962"/>
                        <a:pt x="395437" y="588962"/>
                        <a:pt x="374662" y="588962"/>
                      </a:cubicBezTo>
                      <a:cubicBezTo>
                        <a:pt x="369648" y="588962"/>
                        <a:pt x="364633" y="588962"/>
                        <a:pt x="358902" y="588962"/>
                      </a:cubicBezTo>
                      <a:cubicBezTo>
                        <a:pt x="353888" y="588962"/>
                        <a:pt x="348873" y="588962"/>
                        <a:pt x="343142" y="588962"/>
                      </a:cubicBezTo>
                      <a:cubicBezTo>
                        <a:pt x="338844" y="588962"/>
                        <a:pt x="334546" y="588962"/>
                        <a:pt x="329531" y="588962"/>
                      </a:cubicBezTo>
                      <a:cubicBezTo>
                        <a:pt x="324516" y="588962"/>
                        <a:pt x="319502" y="588962"/>
                        <a:pt x="313771" y="588962"/>
                      </a:cubicBezTo>
                      <a:cubicBezTo>
                        <a:pt x="308756" y="588962"/>
                        <a:pt x="303742" y="588962"/>
                        <a:pt x="298011" y="588962"/>
                      </a:cubicBezTo>
                      <a:cubicBezTo>
                        <a:pt x="292996" y="588962"/>
                        <a:pt x="287981" y="588962"/>
                        <a:pt x="282250" y="588962"/>
                      </a:cubicBezTo>
                      <a:cubicBezTo>
                        <a:pt x="277236" y="588962"/>
                        <a:pt x="272221" y="588962"/>
                        <a:pt x="266490" y="588962"/>
                      </a:cubicBezTo>
                      <a:cubicBezTo>
                        <a:pt x="227806" y="588962"/>
                        <a:pt x="194853" y="588962"/>
                        <a:pt x="167631" y="588962"/>
                      </a:cubicBezTo>
                      <a:cubicBezTo>
                        <a:pt x="161900" y="588962"/>
                        <a:pt x="156886" y="588962"/>
                        <a:pt x="151871" y="588962"/>
                      </a:cubicBezTo>
                      <a:cubicBezTo>
                        <a:pt x="146140" y="588962"/>
                        <a:pt x="141125" y="588962"/>
                        <a:pt x="136111" y="588962"/>
                      </a:cubicBezTo>
                      <a:cubicBezTo>
                        <a:pt x="131096" y="588962"/>
                        <a:pt x="126798" y="588962"/>
                        <a:pt x="122500" y="588962"/>
                      </a:cubicBezTo>
                      <a:cubicBezTo>
                        <a:pt x="116769" y="588962"/>
                        <a:pt x="111038" y="588962"/>
                        <a:pt x="106740" y="588962"/>
                      </a:cubicBezTo>
                      <a:cubicBezTo>
                        <a:pt x="101009" y="588962"/>
                        <a:pt x="95278" y="588962"/>
                        <a:pt x="90979" y="588962"/>
                      </a:cubicBezTo>
                      <a:cubicBezTo>
                        <a:pt x="15044" y="588962"/>
                        <a:pt x="15044" y="588962"/>
                        <a:pt x="15044" y="588962"/>
                      </a:cubicBezTo>
                      <a:cubicBezTo>
                        <a:pt x="6448" y="588962"/>
                        <a:pt x="0" y="581781"/>
                        <a:pt x="0" y="573881"/>
                      </a:cubicBezTo>
                      <a:cubicBezTo>
                        <a:pt x="0" y="565982"/>
                        <a:pt x="6448" y="558800"/>
                        <a:pt x="15044" y="558800"/>
                      </a:cubicBezTo>
                      <a:close/>
                      <a:moveTo>
                        <a:pt x="601663" y="536575"/>
                      </a:moveTo>
                      <a:cubicBezTo>
                        <a:pt x="646907" y="536575"/>
                        <a:pt x="646907" y="536575"/>
                        <a:pt x="646907" y="536575"/>
                      </a:cubicBezTo>
                      <a:cubicBezTo>
                        <a:pt x="653370" y="536575"/>
                        <a:pt x="658397" y="540082"/>
                        <a:pt x="660552" y="544992"/>
                      </a:cubicBezTo>
                      <a:cubicBezTo>
                        <a:pt x="661270" y="547097"/>
                        <a:pt x="661988" y="549201"/>
                        <a:pt x="661988" y="552007"/>
                      </a:cubicBezTo>
                      <a:cubicBezTo>
                        <a:pt x="661988" y="559723"/>
                        <a:pt x="655525" y="566737"/>
                        <a:pt x="646907" y="566737"/>
                      </a:cubicBezTo>
                      <a:cubicBezTo>
                        <a:pt x="631108" y="566737"/>
                        <a:pt x="616026" y="566737"/>
                        <a:pt x="601663" y="566737"/>
                      </a:cubicBezTo>
                      <a:cubicBezTo>
                        <a:pt x="601663" y="566737"/>
                        <a:pt x="601663" y="566737"/>
                        <a:pt x="601663" y="544992"/>
                      </a:cubicBezTo>
                      <a:cubicBezTo>
                        <a:pt x="601663" y="544992"/>
                        <a:pt x="601663" y="544992"/>
                        <a:pt x="601663" y="536575"/>
                      </a:cubicBezTo>
                      <a:close/>
                      <a:moveTo>
                        <a:pt x="808038" y="512762"/>
                      </a:moveTo>
                      <a:cubicBezTo>
                        <a:pt x="853926" y="512762"/>
                        <a:pt x="853926" y="512762"/>
                        <a:pt x="853926" y="512762"/>
                      </a:cubicBezTo>
                      <a:cubicBezTo>
                        <a:pt x="863395" y="512762"/>
                        <a:pt x="869950" y="519978"/>
                        <a:pt x="869950" y="528637"/>
                      </a:cubicBezTo>
                      <a:cubicBezTo>
                        <a:pt x="869950" y="538018"/>
                        <a:pt x="863395" y="544512"/>
                        <a:pt x="853926" y="544512"/>
                      </a:cubicBezTo>
                      <a:cubicBezTo>
                        <a:pt x="838630" y="544512"/>
                        <a:pt x="823334" y="544512"/>
                        <a:pt x="808038" y="544512"/>
                      </a:cubicBezTo>
                      <a:cubicBezTo>
                        <a:pt x="808038" y="544512"/>
                        <a:pt x="808038" y="544512"/>
                        <a:pt x="808038" y="512762"/>
                      </a:cubicBezTo>
                      <a:close/>
                      <a:moveTo>
                        <a:pt x="15044" y="455612"/>
                      </a:moveTo>
                      <a:cubicBezTo>
                        <a:pt x="42266" y="455612"/>
                        <a:pt x="67339" y="455612"/>
                        <a:pt x="90979" y="455612"/>
                      </a:cubicBezTo>
                      <a:cubicBezTo>
                        <a:pt x="95994" y="455612"/>
                        <a:pt x="101009" y="455612"/>
                        <a:pt x="106740" y="455612"/>
                      </a:cubicBezTo>
                      <a:cubicBezTo>
                        <a:pt x="111754" y="455612"/>
                        <a:pt x="116769" y="455612"/>
                        <a:pt x="122500" y="455612"/>
                      </a:cubicBezTo>
                      <a:cubicBezTo>
                        <a:pt x="126798" y="455612"/>
                        <a:pt x="131096" y="455612"/>
                        <a:pt x="136111" y="455612"/>
                      </a:cubicBezTo>
                      <a:cubicBezTo>
                        <a:pt x="141125" y="455612"/>
                        <a:pt x="146140" y="455612"/>
                        <a:pt x="151871" y="455612"/>
                      </a:cubicBezTo>
                      <a:cubicBezTo>
                        <a:pt x="156886" y="455612"/>
                        <a:pt x="161900" y="455612"/>
                        <a:pt x="167631" y="455612"/>
                      </a:cubicBezTo>
                      <a:cubicBezTo>
                        <a:pt x="181958" y="455612"/>
                        <a:pt x="195570" y="455612"/>
                        <a:pt x="208464" y="455612"/>
                      </a:cubicBezTo>
                      <a:cubicBezTo>
                        <a:pt x="229955" y="455612"/>
                        <a:pt x="249297" y="455612"/>
                        <a:pt x="266490" y="455612"/>
                      </a:cubicBezTo>
                      <a:cubicBezTo>
                        <a:pt x="272221" y="455612"/>
                        <a:pt x="277236" y="455612"/>
                        <a:pt x="282250" y="455612"/>
                      </a:cubicBezTo>
                      <a:cubicBezTo>
                        <a:pt x="287981" y="455612"/>
                        <a:pt x="292996" y="455612"/>
                        <a:pt x="298011" y="455612"/>
                      </a:cubicBezTo>
                      <a:cubicBezTo>
                        <a:pt x="303742" y="455612"/>
                        <a:pt x="308756" y="455612"/>
                        <a:pt x="313771" y="455612"/>
                      </a:cubicBezTo>
                      <a:cubicBezTo>
                        <a:pt x="319502" y="455612"/>
                        <a:pt x="324516" y="455612"/>
                        <a:pt x="329531" y="455612"/>
                      </a:cubicBezTo>
                      <a:cubicBezTo>
                        <a:pt x="334546" y="455612"/>
                        <a:pt x="338844" y="455612"/>
                        <a:pt x="343142" y="455612"/>
                      </a:cubicBezTo>
                      <a:cubicBezTo>
                        <a:pt x="348873" y="455612"/>
                        <a:pt x="354604" y="455612"/>
                        <a:pt x="358902" y="455612"/>
                      </a:cubicBezTo>
                      <a:cubicBezTo>
                        <a:pt x="364633" y="455612"/>
                        <a:pt x="370364" y="455612"/>
                        <a:pt x="374662" y="455612"/>
                      </a:cubicBezTo>
                      <a:cubicBezTo>
                        <a:pt x="440568" y="455612"/>
                        <a:pt x="440568" y="455612"/>
                        <a:pt x="440568" y="455612"/>
                      </a:cubicBezTo>
                      <a:cubicBezTo>
                        <a:pt x="447016" y="455612"/>
                        <a:pt x="452030" y="459119"/>
                        <a:pt x="454179" y="464029"/>
                      </a:cubicBezTo>
                      <a:cubicBezTo>
                        <a:pt x="455612" y="466134"/>
                        <a:pt x="455612" y="468238"/>
                        <a:pt x="455612" y="471044"/>
                      </a:cubicBezTo>
                      <a:cubicBezTo>
                        <a:pt x="455612" y="478760"/>
                        <a:pt x="449881" y="485774"/>
                        <a:pt x="440568" y="485774"/>
                      </a:cubicBezTo>
                      <a:cubicBezTo>
                        <a:pt x="417645" y="485774"/>
                        <a:pt x="395437" y="485774"/>
                        <a:pt x="374662" y="485774"/>
                      </a:cubicBezTo>
                      <a:cubicBezTo>
                        <a:pt x="369648" y="485774"/>
                        <a:pt x="364633" y="485774"/>
                        <a:pt x="358902" y="485774"/>
                      </a:cubicBezTo>
                      <a:cubicBezTo>
                        <a:pt x="353888" y="485774"/>
                        <a:pt x="348873" y="485774"/>
                        <a:pt x="343142" y="485774"/>
                      </a:cubicBezTo>
                      <a:cubicBezTo>
                        <a:pt x="338844" y="485774"/>
                        <a:pt x="334546" y="485774"/>
                        <a:pt x="329531" y="485774"/>
                      </a:cubicBezTo>
                      <a:cubicBezTo>
                        <a:pt x="324516" y="485774"/>
                        <a:pt x="319502" y="485774"/>
                        <a:pt x="313771" y="485774"/>
                      </a:cubicBezTo>
                      <a:cubicBezTo>
                        <a:pt x="308756" y="485774"/>
                        <a:pt x="303742" y="485774"/>
                        <a:pt x="298011" y="485774"/>
                      </a:cubicBezTo>
                      <a:cubicBezTo>
                        <a:pt x="292996" y="485774"/>
                        <a:pt x="287981" y="485774"/>
                        <a:pt x="282250" y="485774"/>
                      </a:cubicBezTo>
                      <a:cubicBezTo>
                        <a:pt x="277236" y="485774"/>
                        <a:pt x="272221" y="485774"/>
                        <a:pt x="266490" y="485774"/>
                      </a:cubicBezTo>
                      <a:cubicBezTo>
                        <a:pt x="227806" y="485774"/>
                        <a:pt x="194853" y="485774"/>
                        <a:pt x="167631" y="485774"/>
                      </a:cubicBezTo>
                      <a:cubicBezTo>
                        <a:pt x="161900" y="485774"/>
                        <a:pt x="156886" y="485774"/>
                        <a:pt x="151871" y="485774"/>
                      </a:cubicBezTo>
                      <a:cubicBezTo>
                        <a:pt x="146140" y="485774"/>
                        <a:pt x="141125" y="485774"/>
                        <a:pt x="136111" y="485774"/>
                      </a:cubicBezTo>
                      <a:cubicBezTo>
                        <a:pt x="131096" y="485774"/>
                        <a:pt x="126798" y="485774"/>
                        <a:pt x="122500" y="485774"/>
                      </a:cubicBezTo>
                      <a:cubicBezTo>
                        <a:pt x="116769" y="485774"/>
                        <a:pt x="111038" y="485774"/>
                        <a:pt x="106740" y="485774"/>
                      </a:cubicBezTo>
                      <a:cubicBezTo>
                        <a:pt x="101009" y="485774"/>
                        <a:pt x="95278" y="485774"/>
                        <a:pt x="90979" y="485774"/>
                      </a:cubicBezTo>
                      <a:cubicBezTo>
                        <a:pt x="15044" y="485774"/>
                        <a:pt x="15044" y="485774"/>
                        <a:pt x="15044" y="485774"/>
                      </a:cubicBezTo>
                      <a:cubicBezTo>
                        <a:pt x="6448" y="485774"/>
                        <a:pt x="0" y="478760"/>
                        <a:pt x="0" y="471044"/>
                      </a:cubicBezTo>
                      <a:cubicBezTo>
                        <a:pt x="0" y="462627"/>
                        <a:pt x="6448" y="455612"/>
                        <a:pt x="15044" y="455612"/>
                      </a:cubicBezTo>
                      <a:close/>
                      <a:moveTo>
                        <a:pt x="601663" y="433387"/>
                      </a:moveTo>
                      <a:cubicBezTo>
                        <a:pt x="646907" y="433387"/>
                        <a:pt x="646907" y="433387"/>
                        <a:pt x="646907" y="433387"/>
                      </a:cubicBezTo>
                      <a:cubicBezTo>
                        <a:pt x="653370" y="433387"/>
                        <a:pt x="658397" y="436978"/>
                        <a:pt x="660552" y="442005"/>
                      </a:cubicBezTo>
                      <a:cubicBezTo>
                        <a:pt x="661270" y="444159"/>
                        <a:pt x="661988" y="446314"/>
                        <a:pt x="661988" y="448468"/>
                      </a:cubicBezTo>
                      <a:cubicBezTo>
                        <a:pt x="661988" y="456368"/>
                        <a:pt x="655525" y="463549"/>
                        <a:pt x="646907" y="463549"/>
                      </a:cubicBezTo>
                      <a:cubicBezTo>
                        <a:pt x="631108" y="463549"/>
                        <a:pt x="616026" y="463549"/>
                        <a:pt x="601663" y="463549"/>
                      </a:cubicBezTo>
                      <a:cubicBezTo>
                        <a:pt x="601663" y="463549"/>
                        <a:pt x="601663" y="463549"/>
                        <a:pt x="601663" y="442005"/>
                      </a:cubicBezTo>
                      <a:cubicBezTo>
                        <a:pt x="601663" y="442005"/>
                        <a:pt x="601663" y="442005"/>
                        <a:pt x="601663" y="433387"/>
                      </a:cubicBezTo>
                      <a:close/>
                      <a:moveTo>
                        <a:pt x="808038" y="411162"/>
                      </a:moveTo>
                      <a:cubicBezTo>
                        <a:pt x="853926" y="411162"/>
                        <a:pt x="853926" y="411162"/>
                        <a:pt x="853926" y="411162"/>
                      </a:cubicBezTo>
                      <a:cubicBezTo>
                        <a:pt x="863395" y="411162"/>
                        <a:pt x="869950" y="418177"/>
                        <a:pt x="869950" y="425892"/>
                      </a:cubicBezTo>
                      <a:cubicBezTo>
                        <a:pt x="869950" y="434310"/>
                        <a:pt x="863395" y="441324"/>
                        <a:pt x="853926" y="441324"/>
                      </a:cubicBezTo>
                      <a:cubicBezTo>
                        <a:pt x="838630" y="441324"/>
                        <a:pt x="823334" y="441324"/>
                        <a:pt x="808038" y="441324"/>
                      </a:cubicBezTo>
                      <a:cubicBezTo>
                        <a:pt x="808038" y="441324"/>
                        <a:pt x="808038" y="441324"/>
                        <a:pt x="808038" y="411162"/>
                      </a:cubicBezTo>
                      <a:close/>
                      <a:moveTo>
                        <a:pt x="15044" y="352425"/>
                      </a:moveTo>
                      <a:cubicBezTo>
                        <a:pt x="42266" y="352425"/>
                        <a:pt x="67339" y="352425"/>
                        <a:pt x="90979" y="352425"/>
                      </a:cubicBezTo>
                      <a:cubicBezTo>
                        <a:pt x="95994" y="352425"/>
                        <a:pt x="101009" y="352425"/>
                        <a:pt x="106740" y="352425"/>
                      </a:cubicBezTo>
                      <a:cubicBezTo>
                        <a:pt x="111754" y="352425"/>
                        <a:pt x="116769" y="352425"/>
                        <a:pt x="122500" y="352425"/>
                      </a:cubicBezTo>
                      <a:cubicBezTo>
                        <a:pt x="126798" y="352425"/>
                        <a:pt x="131096" y="352425"/>
                        <a:pt x="136111" y="352425"/>
                      </a:cubicBezTo>
                      <a:cubicBezTo>
                        <a:pt x="141125" y="352425"/>
                        <a:pt x="146140" y="352425"/>
                        <a:pt x="151871" y="352425"/>
                      </a:cubicBezTo>
                      <a:cubicBezTo>
                        <a:pt x="156886" y="352425"/>
                        <a:pt x="161900" y="352425"/>
                        <a:pt x="167631" y="352425"/>
                      </a:cubicBezTo>
                      <a:cubicBezTo>
                        <a:pt x="181958" y="352425"/>
                        <a:pt x="195570" y="352425"/>
                        <a:pt x="209181" y="352425"/>
                      </a:cubicBezTo>
                      <a:cubicBezTo>
                        <a:pt x="229955" y="352425"/>
                        <a:pt x="249297" y="352425"/>
                        <a:pt x="266490" y="352425"/>
                      </a:cubicBezTo>
                      <a:cubicBezTo>
                        <a:pt x="272221" y="352425"/>
                        <a:pt x="277236" y="352425"/>
                        <a:pt x="282250" y="352425"/>
                      </a:cubicBezTo>
                      <a:cubicBezTo>
                        <a:pt x="287981" y="352425"/>
                        <a:pt x="292996" y="352425"/>
                        <a:pt x="298011" y="352425"/>
                      </a:cubicBezTo>
                      <a:cubicBezTo>
                        <a:pt x="303742" y="352425"/>
                        <a:pt x="308756" y="352425"/>
                        <a:pt x="313771" y="352425"/>
                      </a:cubicBezTo>
                      <a:cubicBezTo>
                        <a:pt x="319502" y="352425"/>
                        <a:pt x="324516" y="352425"/>
                        <a:pt x="329531" y="352425"/>
                      </a:cubicBezTo>
                      <a:cubicBezTo>
                        <a:pt x="334546" y="352425"/>
                        <a:pt x="338844" y="352425"/>
                        <a:pt x="343142" y="352425"/>
                      </a:cubicBezTo>
                      <a:cubicBezTo>
                        <a:pt x="348873" y="352425"/>
                        <a:pt x="354604" y="352425"/>
                        <a:pt x="358902" y="352425"/>
                      </a:cubicBezTo>
                      <a:cubicBezTo>
                        <a:pt x="364633" y="352425"/>
                        <a:pt x="370364" y="352425"/>
                        <a:pt x="374662" y="352425"/>
                      </a:cubicBezTo>
                      <a:cubicBezTo>
                        <a:pt x="440568" y="352425"/>
                        <a:pt x="440568" y="352425"/>
                        <a:pt x="440568" y="352425"/>
                      </a:cubicBezTo>
                      <a:cubicBezTo>
                        <a:pt x="447016" y="352425"/>
                        <a:pt x="452030" y="356033"/>
                        <a:pt x="454179" y="361084"/>
                      </a:cubicBezTo>
                      <a:cubicBezTo>
                        <a:pt x="455612" y="363249"/>
                        <a:pt x="455612" y="366135"/>
                        <a:pt x="455612" y="368300"/>
                      </a:cubicBezTo>
                      <a:cubicBezTo>
                        <a:pt x="455612" y="376959"/>
                        <a:pt x="449881" y="384175"/>
                        <a:pt x="440568" y="384175"/>
                      </a:cubicBezTo>
                      <a:cubicBezTo>
                        <a:pt x="417645" y="384175"/>
                        <a:pt x="395437" y="384175"/>
                        <a:pt x="374662" y="384175"/>
                      </a:cubicBezTo>
                      <a:cubicBezTo>
                        <a:pt x="369648" y="384175"/>
                        <a:pt x="364633" y="384175"/>
                        <a:pt x="358902" y="384175"/>
                      </a:cubicBezTo>
                      <a:cubicBezTo>
                        <a:pt x="353888" y="384175"/>
                        <a:pt x="348873" y="384175"/>
                        <a:pt x="343142" y="384175"/>
                      </a:cubicBezTo>
                      <a:cubicBezTo>
                        <a:pt x="338844" y="384175"/>
                        <a:pt x="334546" y="384175"/>
                        <a:pt x="329531" y="384175"/>
                      </a:cubicBezTo>
                      <a:cubicBezTo>
                        <a:pt x="324516" y="384175"/>
                        <a:pt x="319502" y="384175"/>
                        <a:pt x="313771" y="384175"/>
                      </a:cubicBezTo>
                      <a:cubicBezTo>
                        <a:pt x="308756" y="384175"/>
                        <a:pt x="303742" y="384175"/>
                        <a:pt x="298011" y="384175"/>
                      </a:cubicBezTo>
                      <a:cubicBezTo>
                        <a:pt x="292996" y="384175"/>
                        <a:pt x="287981" y="384175"/>
                        <a:pt x="282250" y="384175"/>
                      </a:cubicBezTo>
                      <a:cubicBezTo>
                        <a:pt x="277236" y="384175"/>
                        <a:pt x="272221" y="384175"/>
                        <a:pt x="266490" y="384175"/>
                      </a:cubicBezTo>
                      <a:cubicBezTo>
                        <a:pt x="227806" y="384175"/>
                        <a:pt x="194853" y="384175"/>
                        <a:pt x="167631" y="384175"/>
                      </a:cubicBezTo>
                      <a:cubicBezTo>
                        <a:pt x="161900" y="384175"/>
                        <a:pt x="156886" y="384175"/>
                        <a:pt x="151871" y="384175"/>
                      </a:cubicBezTo>
                      <a:cubicBezTo>
                        <a:pt x="146140" y="384175"/>
                        <a:pt x="141125" y="384175"/>
                        <a:pt x="136111" y="384175"/>
                      </a:cubicBezTo>
                      <a:cubicBezTo>
                        <a:pt x="131096" y="384175"/>
                        <a:pt x="126798" y="384175"/>
                        <a:pt x="122500" y="384175"/>
                      </a:cubicBezTo>
                      <a:cubicBezTo>
                        <a:pt x="116769" y="384175"/>
                        <a:pt x="111038" y="384175"/>
                        <a:pt x="106740" y="384175"/>
                      </a:cubicBezTo>
                      <a:cubicBezTo>
                        <a:pt x="101009" y="384175"/>
                        <a:pt x="95278" y="384175"/>
                        <a:pt x="90979" y="384175"/>
                      </a:cubicBezTo>
                      <a:cubicBezTo>
                        <a:pt x="15044" y="384175"/>
                        <a:pt x="15044" y="384175"/>
                        <a:pt x="15044" y="384175"/>
                      </a:cubicBezTo>
                      <a:cubicBezTo>
                        <a:pt x="6448" y="384175"/>
                        <a:pt x="0" y="376959"/>
                        <a:pt x="0" y="368300"/>
                      </a:cubicBezTo>
                      <a:cubicBezTo>
                        <a:pt x="0" y="359641"/>
                        <a:pt x="6448" y="352425"/>
                        <a:pt x="15044" y="352425"/>
                      </a:cubicBezTo>
                      <a:close/>
                      <a:moveTo>
                        <a:pt x="601663" y="330200"/>
                      </a:moveTo>
                      <a:cubicBezTo>
                        <a:pt x="646907" y="330200"/>
                        <a:pt x="646907" y="330200"/>
                        <a:pt x="646907" y="330200"/>
                      </a:cubicBezTo>
                      <a:cubicBezTo>
                        <a:pt x="653370" y="330200"/>
                        <a:pt x="658397" y="333707"/>
                        <a:pt x="660552" y="338617"/>
                      </a:cubicBezTo>
                      <a:cubicBezTo>
                        <a:pt x="661270" y="340722"/>
                        <a:pt x="661988" y="342826"/>
                        <a:pt x="661988" y="344930"/>
                      </a:cubicBezTo>
                      <a:cubicBezTo>
                        <a:pt x="661988" y="353348"/>
                        <a:pt x="655525" y="360362"/>
                        <a:pt x="646907" y="360362"/>
                      </a:cubicBezTo>
                      <a:cubicBezTo>
                        <a:pt x="631108" y="360362"/>
                        <a:pt x="616026" y="360362"/>
                        <a:pt x="601663" y="360362"/>
                      </a:cubicBezTo>
                      <a:cubicBezTo>
                        <a:pt x="601663" y="360362"/>
                        <a:pt x="601663" y="360362"/>
                        <a:pt x="601663" y="338617"/>
                      </a:cubicBezTo>
                      <a:cubicBezTo>
                        <a:pt x="601663" y="338617"/>
                        <a:pt x="601663" y="338617"/>
                        <a:pt x="601663" y="330200"/>
                      </a:cubicBezTo>
                      <a:close/>
                      <a:moveTo>
                        <a:pt x="808038" y="307975"/>
                      </a:moveTo>
                      <a:cubicBezTo>
                        <a:pt x="853926" y="307975"/>
                        <a:pt x="853926" y="307975"/>
                        <a:pt x="853926" y="307975"/>
                      </a:cubicBezTo>
                      <a:cubicBezTo>
                        <a:pt x="863395" y="307975"/>
                        <a:pt x="869950" y="315156"/>
                        <a:pt x="869950" y="323056"/>
                      </a:cubicBezTo>
                      <a:cubicBezTo>
                        <a:pt x="869950" y="330955"/>
                        <a:pt x="863395" y="338137"/>
                        <a:pt x="853926" y="338137"/>
                      </a:cubicBezTo>
                      <a:cubicBezTo>
                        <a:pt x="838630" y="338137"/>
                        <a:pt x="823334" y="338137"/>
                        <a:pt x="808038" y="338137"/>
                      </a:cubicBezTo>
                      <a:cubicBezTo>
                        <a:pt x="808038" y="338137"/>
                        <a:pt x="808038" y="338137"/>
                        <a:pt x="808038" y="307975"/>
                      </a:cubicBezTo>
                      <a:close/>
                      <a:moveTo>
                        <a:pt x="15044" y="249237"/>
                      </a:moveTo>
                      <a:cubicBezTo>
                        <a:pt x="42266" y="249237"/>
                        <a:pt x="67339" y="249237"/>
                        <a:pt x="90979" y="249237"/>
                      </a:cubicBezTo>
                      <a:cubicBezTo>
                        <a:pt x="95994" y="249237"/>
                        <a:pt x="101009" y="249237"/>
                        <a:pt x="106740" y="249237"/>
                      </a:cubicBezTo>
                      <a:cubicBezTo>
                        <a:pt x="111754" y="249237"/>
                        <a:pt x="116769" y="249237"/>
                        <a:pt x="122500" y="249237"/>
                      </a:cubicBezTo>
                      <a:cubicBezTo>
                        <a:pt x="126798" y="249237"/>
                        <a:pt x="131096" y="249237"/>
                        <a:pt x="136111" y="249237"/>
                      </a:cubicBezTo>
                      <a:cubicBezTo>
                        <a:pt x="141125" y="249237"/>
                        <a:pt x="146140" y="249237"/>
                        <a:pt x="151871" y="249237"/>
                      </a:cubicBezTo>
                      <a:cubicBezTo>
                        <a:pt x="156886" y="249237"/>
                        <a:pt x="161900" y="249237"/>
                        <a:pt x="167631" y="249237"/>
                      </a:cubicBezTo>
                      <a:cubicBezTo>
                        <a:pt x="181958" y="249237"/>
                        <a:pt x="195570" y="249237"/>
                        <a:pt x="209181" y="249237"/>
                      </a:cubicBezTo>
                      <a:cubicBezTo>
                        <a:pt x="229955" y="249237"/>
                        <a:pt x="249297" y="249237"/>
                        <a:pt x="266490" y="249237"/>
                      </a:cubicBezTo>
                      <a:cubicBezTo>
                        <a:pt x="272221" y="249237"/>
                        <a:pt x="277236" y="249237"/>
                        <a:pt x="282250" y="249237"/>
                      </a:cubicBezTo>
                      <a:cubicBezTo>
                        <a:pt x="287981" y="249237"/>
                        <a:pt x="292996" y="249237"/>
                        <a:pt x="298011" y="249237"/>
                      </a:cubicBezTo>
                      <a:cubicBezTo>
                        <a:pt x="303742" y="249237"/>
                        <a:pt x="308756" y="249237"/>
                        <a:pt x="313771" y="249237"/>
                      </a:cubicBezTo>
                      <a:cubicBezTo>
                        <a:pt x="319502" y="249237"/>
                        <a:pt x="324516" y="249237"/>
                        <a:pt x="329531" y="249237"/>
                      </a:cubicBezTo>
                      <a:cubicBezTo>
                        <a:pt x="334546" y="249237"/>
                        <a:pt x="338844" y="249237"/>
                        <a:pt x="343142" y="249237"/>
                      </a:cubicBezTo>
                      <a:cubicBezTo>
                        <a:pt x="348873" y="249237"/>
                        <a:pt x="354604" y="249237"/>
                        <a:pt x="358902" y="249237"/>
                      </a:cubicBezTo>
                      <a:cubicBezTo>
                        <a:pt x="364633" y="249237"/>
                        <a:pt x="370364" y="249237"/>
                        <a:pt x="374662" y="249237"/>
                      </a:cubicBezTo>
                      <a:cubicBezTo>
                        <a:pt x="440568" y="249237"/>
                        <a:pt x="440568" y="249237"/>
                        <a:pt x="440568" y="249237"/>
                      </a:cubicBezTo>
                      <a:cubicBezTo>
                        <a:pt x="447016" y="249237"/>
                        <a:pt x="452030" y="252190"/>
                        <a:pt x="454179" y="258097"/>
                      </a:cubicBezTo>
                      <a:cubicBezTo>
                        <a:pt x="455612" y="260312"/>
                        <a:pt x="455612" y="262528"/>
                        <a:pt x="455612" y="265481"/>
                      </a:cubicBezTo>
                      <a:cubicBezTo>
                        <a:pt x="455612" y="273603"/>
                        <a:pt x="449881" y="280987"/>
                        <a:pt x="440568" y="280987"/>
                      </a:cubicBezTo>
                      <a:cubicBezTo>
                        <a:pt x="417645" y="280987"/>
                        <a:pt x="395437" y="280987"/>
                        <a:pt x="374662" y="280987"/>
                      </a:cubicBezTo>
                      <a:cubicBezTo>
                        <a:pt x="369648" y="280987"/>
                        <a:pt x="364633" y="280987"/>
                        <a:pt x="358902" y="280987"/>
                      </a:cubicBezTo>
                      <a:cubicBezTo>
                        <a:pt x="353888" y="280987"/>
                        <a:pt x="348873" y="280987"/>
                        <a:pt x="343142" y="280987"/>
                      </a:cubicBezTo>
                      <a:cubicBezTo>
                        <a:pt x="338844" y="280987"/>
                        <a:pt x="334546" y="280987"/>
                        <a:pt x="329531" y="280987"/>
                      </a:cubicBezTo>
                      <a:cubicBezTo>
                        <a:pt x="324516" y="280987"/>
                        <a:pt x="319502" y="280987"/>
                        <a:pt x="313771" y="280987"/>
                      </a:cubicBezTo>
                      <a:cubicBezTo>
                        <a:pt x="308756" y="280987"/>
                        <a:pt x="303742" y="280987"/>
                        <a:pt x="298011" y="280987"/>
                      </a:cubicBezTo>
                      <a:cubicBezTo>
                        <a:pt x="292996" y="280987"/>
                        <a:pt x="287981" y="280987"/>
                        <a:pt x="282250" y="280987"/>
                      </a:cubicBezTo>
                      <a:cubicBezTo>
                        <a:pt x="277236" y="280987"/>
                        <a:pt x="272221" y="280987"/>
                        <a:pt x="266490" y="280987"/>
                      </a:cubicBezTo>
                      <a:cubicBezTo>
                        <a:pt x="227806" y="280987"/>
                        <a:pt x="194853" y="280987"/>
                        <a:pt x="167631" y="280987"/>
                      </a:cubicBezTo>
                      <a:cubicBezTo>
                        <a:pt x="161900" y="280987"/>
                        <a:pt x="156886" y="280987"/>
                        <a:pt x="151871" y="280987"/>
                      </a:cubicBezTo>
                      <a:cubicBezTo>
                        <a:pt x="146140" y="280987"/>
                        <a:pt x="141125" y="280987"/>
                        <a:pt x="136111" y="280987"/>
                      </a:cubicBezTo>
                      <a:cubicBezTo>
                        <a:pt x="131096" y="280987"/>
                        <a:pt x="126798" y="280987"/>
                        <a:pt x="122500" y="280987"/>
                      </a:cubicBezTo>
                      <a:cubicBezTo>
                        <a:pt x="116769" y="280987"/>
                        <a:pt x="111038" y="280987"/>
                        <a:pt x="106740" y="280987"/>
                      </a:cubicBezTo>
                      <a:cubicBezTo>
                        <a:pt x="101009" y="280987"/>
                        <a:pt x="95278" y="280987"/>
                        <a:pt x="90979" y="280987"/>
                      </a:cubicBezTo>
                      <a:cubicBezTo>
                        <a:pt x="15044" y="280987"/>
                        <a:pt x="15044" y="280987"/>
                        <a:pt x="15044" y="280987"/>
                      </a:cubicBezTo>
                      <a:cubicBezTo>
                        <a:pt x="6448" y="280987"/>
                        <a:pt x="0" y="273603"/>
                        <a:pt x="0" y="265481"/>
                      </a:cubicBezTo>
                      <a:cubicBezTo>
                        <a:pt x="0" y="255882"/>
                        <a:pt x="6448" y="249237"/>
                        <a:pt x="15044" y="249237"/>
                      </a:cubicBezTo>
                      <a:close/>
                      <a:moveTo>
                        <a:pt x="601663" y="227012"/>
                      </a:moveTo>
                      <a:cubicBezTo>
                        <a:pt x="646907" y="227012"/>
                        <a:pt x="646907" y="227012"/>
                        <a:pt x="646907" y="227012"/>
                      </a:cubicBezTo>
                      <a:cubicBezTo>
                        <a:pt x="653370" y="227012"/>
                        <a:pt x="658397" y="230620"/>
                        <a:pt x="660552" y="235671"/>
                      </a:cubicBezTo>
                      <a:cubicBezTo>
                        <a:pt x="661270" y="237836"/>
                        <a:pt x="661988" y="240001"/>
                        <a:pt x="661988" y="242887"/>
                      </a:cubicBezTo>
                      <a:cubicBezTo>
                        <a:pt x="661988" y="251546"/>
                        <a:pt x="655525" y="258762"/>
                        <a:pt x="646907" y="258762"/>
                      </a:cubicBezTo>
                      <a:cubicBezTo>
                        <a:pt x="631108" y="258762"/>
                        <a:pt x="616026" y="258762"/>
                        <a:pt x="601663" y="258762"/>
                      </a:cubicBezTo>
                      <a:cubicBezTo>
                        <a:pt x="601663" y="258762"/>
                        <a:pt x="601663" y="258762"/>
                        <a:pt x="601663" y="235671"/>
                      </a:cubicBezTo>
                      <a:cubicBezTo>
                        <a:pt x="601663" y="235671"/>
                        <a:pt x="601663" y="235671"/>
                        <a:pt x="601663" y="227012"/>
                      </a:cubicBezTo>
                      <a:close/>
                      <a:moveTo>
                        <a:pt x="808038" y="204787"/>
                      </a:moveTo>
                      <a:cubicBezTo>
                        <a:pt x="853926" y="204787"/>
                        <a:pt x="853926" y="204787"/>
                        <a:pt x="853926" y="204787"/>
                      </a:cubicBezTo>
                      <a:cubicBezTo>
                        <a:pt x="863395" y="204787"/>
                        <a:pt x="869950" y="211100"/>
                        <a:pt x="869950" y="219517"/>
                      </a:cubicBezTo>
                      <a:cubicBezTo>
                        <a:pt x="869950" y="227934"/>
                        <a:pt x="863395" y="234949"/>
                        <a:pt x="853926" y="234949"/>
                      </a:cubicBezTo>
                      <a:cubicBezTo>
                        <a:pt x="838630" y="234949"/>
                        <a:pt x="823334" y="234949"/>
                        <a:pt x="808038" y="234949"/>
                      </a:cubicBezTo>
                      <a:cubicBezTo>
                        <a:pt x="808038" y="234949"/>
                        <a:pt x="808038" y="234949"/>
                        <a:pt x="808038" y="204787"/>
                      </a:cubicBezTo>
                      <a:close/>
                      <a:moveTo>
                        <a:pt x="601663" y="125412"/>
                      </a:moveTo>
                      <a:cubicBezTo>
                        <a:pt x="646907" y="125412"/>
                        <a:pt x="646907" y="125412"/>
                        <a:pt x="646907" y="125412"/>
                      </a:cubicBezTo>
                      <a:cubicBezTo>
                        <a:pt x="653370" y="125412"/>
                        <a:pt x="658397" y="128218"/>
                        <a:pt x="660552" y="133829"/>
                      </a:cubicBezTo>
                      <a:cubicBezTo>
                        <a:pt x="661270" y="135934"/>
                        <a:pt x="661988" y="138038"/>
                        <a:pt x="661988" y="140142"/>
                      </a:cubicBezTo>
                      <a:cubicBezTo>
                        <a:pt x="661988" y="148559"/>
                        <a:pt x="655525" y="155574"/>
                        <a:pt x="646907" y="155574"/>
                      </a:cubicBezTo>
                      <a:cubicBezTo>
                        <a:pt x="631108" y="155574"/>
                        <a:pt x="616026" y="155574"/>
                        <a:pt x="601663" y="155574"/>
                      </a:cubicBezTo>
                      <a:cubicBezTo>
                        <a:pt x="601663" y="155574"/>
                        <a:pt x="601663" y="155574"/>
                        <a:pt x="601663" y="133829"/>
                      </a:cubicBezTo>
                      <a:cubicBezTo>
                        <a:pt x="601663" y="133829"/>
                        <a:pt x="601663" y="133829"/>
                        <a:pt x="601663" y="125412"/>
                      </a:cubicBezTo>
                      <a:close/>
                      <a:moveTo>
                        <a:pt x="808038" y="101600"/>
                      </a:moveTo>
                      <a:cubicBezTo>
                        <a:pt x="853926" y="101600"/>
                        <a:pt x="853926" y="101600"/>
                        <a:pt x="853926" y="101600"/>
                      </a:cubicBezTo>
                      <a:cubicBezTo>
                        <a:pt x="863395" y="101600"/>
                        <a:pt x="869950" y="108816"/>
                        <a:pt x="869950" y="117475"/>
                      </a:cubicBezTo>
                      <a:cubicBezTo>
                        <a:pt x="869950" y="126134"/>
                        <a:pt x="863395" y="133350"/>
                        <a:pt x="853926" y="133350"/>
                      </a:cubicBezTo>
                      <a:cubicBezTo>
                        <a:pt x="838630" y="133350"/>
                        <a:pt x="823334" y="133350"/>
                        <a:pt x="808038" y="133350"/>
                      </a:cubicBezTo>
                      <a:cubicBezTo>
                        <a:pt x="808038" y="133350"/>
                        <a:pt x="808038" y="133350"/>
                        <a:pt x="808038" y="101600"/>
                      </a:cubicBezTo>
                      <a:close/>
                      <a:moveTo>
                        <a:pt x="808038" y="0"/>
                      </a:moveTo>
                      <a:cubicBezTo>
                        <a:pt x="853926" y="0"/>
                        <a:pt x="853926" y="0"/>
                        <a:pt x="853926" y="0"/>
                      </a:cubicBezTo>
                      <a:cubicBezTo>
                        <a:pt x="863395" y="0"/>
                        <a:pt x="869950" y="6313"/>
                        <a:pt x="869950" y="14730"/>
                      </a:cubicBezTo>
                      <a:cubicBezTo>
                        <a:pt x="869950" y="23147"/>
                        <a:pt x="863395" y="30162"/>
                        <a:pt x="853926" y="30162"/>
                      </a:cubicBezTo>
                      <a:cubicBezTo>
                        <a:pt x="838630" y="30162"/>
                        <a:pt x="823334" y="30162"/>
                        <a:pt x="808038" y="30162"/>
                      </a:cubicBezTo>
                      <a:cubicBezTo>
                        <a:pt x="808038" y="30162"/>
                        <a:pt x="808038" y="30162"/>
                        <a:pt x="808038" y="0"/>
                      </a:cubicBezTo>
                      <a:close/>
                    </a:path>
                  </a:pathLst>
                </a:custGeom>
                <a:solidFill>
                  <a:srgbClr val="0A377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0" name="Group 9"/>
          <p:cNvGrpSpPr/>
          <p:nvPr/>
        </p:nvGrpSpPr>
        <p:grpSpPr>
          <a:xfrm>
            <a:off x="4222207" y="2713526"/>
            <a:ext cx="763571" cy="763571"/>
            <a:chOff x="4222208" y="2743916"/>
            <a:chExt cx="763571" cy="763571"/>
          </a:xfrm>
        </p:grpSpPr>
        <p:sp>
          <p:nvSpPr>
            <p:cNvPr id="23" name="Oval 22"/>
            <p:cNvSpPr/>
            <p:nvPr/>
          </p:nvSpPr>
          <p:spPr>
            <a:xfrm>
              <a:off x="4222208" y="2743916"/>
              <a:ext cx="763571" cy="763571"/>
            </a:xfrm>
            <a:prstGeom prst="ellipse">
              <a:avLst/>
            </a:prstGeom>
            <a:grpFill/>
            <a:ln w="19050" cap="flat" cmpd="sng" algn="ctr">
              <a:gradFill flip="none" rotWithShape="1">
                <a:gsLst>
                  <a:gs pos="0">
                    <a:srgbClr val="051934"/>
                  </a:gs>
                  <a:gs pos="100000">
                    <a:srgbClr val="0A3774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37" name="Group 36"/>
            <p:cNvGrpSpPr>
              <a:grpSpLocks noChangeAspect="1"/>
            </p:cNvGrpSpPr>
            <p:nvPr/>
          </p:nvGrpSpPr>
          <p:grpSpPr>
            <a:xfrm>
              <a:off x="4341605" y="2863314"/>
              <a:ext cx="524776" cy="524776"/>
              <a:chOff x="5256341" y="2517774"/>
              <a:chExt cx="1646238" cy="1646238"/>
            </a:xfrm>
          </p:grpSpPr>
          <p:sp>
            <p:nvSpPr>
              <p:cNvPr id="38" name="AutoShape 107"/>
              <p:cNvSpPr>
                <a:spLocks noChangeAspect="1" noChangeArrowheads="1" noTextEdit="1"/>
              </p:cNvSpPr>
              <p:nvPr/>
            </p:nvSpPr>
            <p:spPr bwMode="auto">
              <a:xfrm>
                <a:off x="5256341" y="2517774"/>
                <a:ext cx="1646238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5432682" y="2692400"/>
                <a:ext cx="1293556" cy="1296987"/>
                <a:chOff x="5432682" y="2692400"/>
                <a:chExt cx="1293556" cy="1296987"/>
              </a:xfrm>
            </p:grpSpPr>
            <p:sp>
              <p:nvSpPr>
                <p:cNvPr id="40" name="Freeform 39"/>
                <p:cNvSpPr>
                  <a:spLocks/>
                </p:cNvSpPr>
                <p:nvPr/>
              </p:nvSpPr>
              <p:spPr bwMode="auto">
                <a:xfrm>
                  <a:off x="5432682" y="2753317"/>
                  <a:ext cx="1285289" cy="1236070"/>
                </a:xfrm>
                <a:custGeom>
                  <a:avLst/>
                  <a:gdLst>
                    <a:gd name="connsiteX0" fmla="*/ 233276 w 1285289"/>
                    <a:gd name="connsiteY0" fmla="*/ 991595 h 1236070"/>
                    <a:gd name="connsiteX1" fmla="*/ 630639 w 1285289"/>
                    <a:gd name="connsiteY1" fmla="*/ 1202571 h 1236070"/>
                    <a:gd name="connsiteX2" fmla="*/ 1078030 w 1285289"/>
                    <a:gd name="connsiteY2" fmla="*/ 1042201 h 1236070"/>
                    <a:gd name="connsiteX3" fmla="*/ 1008706 w 1285289"/>
                    <a:gd name="connsiteY3" fmla="*/ 1044339 h 1236070"/>
                    <a:gd name="connsiteX4" fmla="*/ 992268 w 1285289"/>
                    <a:gd name="connsiteY4" fmla="*/ 1029371 h 1236070"/>
                    <a:gd name="connsiteX5" fmla="*/ 1007991 w 1285289"/>
                    <a:gd name="connsiteY5" fmla="*/ 1012978 h 1236070"/>
                    <a:gd name="connsiteX6" fmla="*/ 1115908 w 1285289"/>
                    <a:gd name="connsiteY6" fmla="*/ 1010127 h 1236070"/>
                    <a:gd name="connsiteX7" fmla="*/ 1118052 w 1285289"/>
                    <a:gd name="connsiteY7" fmla="*/ 1010127 h 1236070"/>
                    <a:gd name="connsiteX8" fmla="*/ 1118767 w 1285289"/>
                    <a:gd name="connsiteY8" fmla="*/ 1010127 h 1236070"/>
                    <a:gd name="connsiteX9" fmla="*/ 1120911 w 1285289"/>
                    <a:gd name="connsiteY9" fmla="*/ 1010840 h 1236070"/>
                    <a:gd name="connsiteX10" fmla="*/ 1121626 w 1285289"/>
                    <a:gd name="connsiteY10" fmla="*/ 1010840 h 1236070"/>
                    <a:gd name="connsiteX11" fmla="*/ 1123770 w 1285289"/>
                    <a:gd name="connsiteY11" fmla="*/ 1012265 h 1236070"/>
                    <a:gd name="connsiteX12" fmla="*/ 1124484 w 1285289"/>
                    <a:gd name="connsiteY12" fmla="*/ 1012265 h 1236070"/>
                    <a:gd name="connsiteX13" fmla="*/ 1126628 w 1285289"/>
                    <a:gd name="connsiteY13" fmla="*/ 1013691 h 1236070"/>
                    <a:gd name="connsiteX14" fmla="*/ 1127343 w 1285289"/>
                    <a:gd name="connsiteY14" fmla="*/ 1014403 h 1236070"/>
                    <a:gd name="connsiteX15" fmla="*/ 1128772 w 1285289"/>
                    <a:gd name="connsiteY15" fmla="*/ 1015829 h 1236070"/>
                    <a:gd name="connsiteX16" fmla="*/ 1128772 w 1285289"/>
                    <a:gd name="connsiteY16" fmla="*/ 1016542 h 1236070"/>
                    <a:gd name="connsiteX17" fmla="*/ 1130202 w 1285289"/>
                    <a:gd name="connsiteY17" fmla="*/ 1018680 h 1236070"/>
                    <a:gd name="connsiteX18" fmla="*/ 1130202 w 1285289"/>
                    <a:gd name="connsiteY18" fmla="*/ 1019393 h 1236070"/>
                    <a:gd name="connsiteX19" fmla="*/ 1131631 w 1285289"/>
                    <a:gd name="connsiteY19" fmla="*/ 1021531 h 1236070"/>
                    <a:gd name="connsiteX20" fmla="*/ 1131631 w 1285289"/>
                    <a:gd name="connsiteY20" fmla="*/ 1022244 h 1236070"/>
                    <a:gd name="connsiteX21" fmla="*/ 1131631 w 1285289"/>
                    <a:gd name="connsiteY21" fmla="*/ 1024382 h 1236070"/>
                    <a:gd name="connsiteX22" fmla="*/ 1131631 w 1285289"/>
                    <a:gd name="connsiteY22" fmla="*/ 1025095 h 1236070"/>
                    <a:gd name="connsiteX23" fmla="*/ 1131631 w 1285289"/>
                    <a:gd name="connsiteY23" fmla="*/ 1026520 h 1236070"/>
                    <a:gd name="connsiteX24" fmla="*/ 1126628 w 1285289"/>
                    <a:gd name="connsiteY24" fmla="*/ 1132008 h 1236070"/>
                    <a:gd name="connsiteX25" fmla="*/ 1110905 w 1285289"/>
                    <a:gd name="connsiteY25" fmla="*/ 1147689 h 1236070"/>
                    <a:gd name="connsiteX26" fmla="*/ 1110191 w 1285289"/>
                    <a:gd name="connsiteY26" fmla="*/ 1147689 h 1236070"/>
                    <a:gd name="connsiteX27" fmla="*/ 1095182 w 1285289"/>
                    <a:gd name="connsiteY27" fmla="*/ 1130582 h 1236070"/>
                    <a:gd name="connsiteX28" fmla="*/ 1098041 w 1285289"/>
                    <a:gd name="connsiteY28" fmla="*/ 1066434 h 1236070"/>
                    <a:gd name="connsiteX29" fmla="*/ 905077 w 1285289"/>
                    <a:gd name="connsiteY29" fmla="*/ 1192592 h 1236070"/>
                    <a:gd name="connsiteX30" fmla="*/ 679952 w 1285289"/>
                    <a:gd name="connsiteY30" fmla="*/ 1236070 h 1236070"/>
                    <a:gd name="connsiteX31" fmla="*/ 627780 w 1285289"/>
                    <a:gd name="connsiteY31" fmla="*/ 1233932 h 1236070"/>
                    <a:gd name="connsiteX32" fmla="*/ 361918 w 1285289"/>
                    <a:gd name="connsiteY32" fmla="*/ 1146263 h 1236070"/>
                    <a:gd name="connsiteX33" fmla="*/ 206118 w 1285289"/>
                    <a:gd name="connsiteY33" fmla="*/ 1007988 h 1236070"/>
                    <a:gd name="connsiteX34" fmla="*/ 233276 w 1285289"/>
                    <a:gd name="connsiteY34" fmla="*/ 991595 h 1236070"/>
                    <a:gd name="connsiteX35" fmla="*/ 520755 w 1285289"/>
                    <a:gd name="connsiteY35" fmla="*/ 47032 h 1236070"/>
                    <a:gd name="connsiteX36" fmla="*/ 520755 w 1285289"/>
                    <a:gd name="connsiteY36" fmla="*/ 49891 h 1236070"/>
                    <a:gd name="connsiteX37" fmla="*/ 523619 w 1285289"/>
                    <a:gd name="connsiteY37" fmla="*/ 78479 h 1236070"/>
                    <a:gd name="connsiteX38" fmla="*/ 108403 w 1285289"/>
                    <a:gd name="connsiteY38" fmla="*/ 563049 h 1236070"/>
                    <a:gd name="connsiteX39" fmla="*/ 106255 w 1285289"/>
                    <a:gd name="connsiteY39" fmla="*/ 678831 h 1236070"/>
                    <a:gd name="connsiteX40" fmla="*/ 147061 w 1285289"/>
                    <a:gd name="connsiteY40" fmla="*/ 624513 h 1236070"/>
                    <a:gd name="connsiteX41" fmla="*/ 169253 w 1285289"/>
                    <a:gd name="connsiteY41" fmla="*/ 620940 h 1236070"/>
                    <a:gd name="connsiteX42" fmla="*/ 172833 w 1285289"/>
                    <a:gd name="connsiteY42" fmla="*/ 643096 h 1236070"/>
                    <a:gd name="connsiteX43" fmla="*/ 108403 w 1285289"/>
                    <a:gd name="connsiteY43" fmla="*/ 728860 h 1236070"/>
                    <a:gd name="connsiteX44" fmla="*/ 107687 w 1285289"/>
                    <a:gd name="connsiteY44" fmla="*/ 729575 h 1236070"/>
                    <a:gd name="connsiteX45" fmla="*/ 106255 w 1285289"/>
                    <a:gd name="connsiteY45" fmla="*/ 731719 h 1236070"/>
                    <a:gd name="connsiteX46" fmla="*/ 105539 w 1285289"/>
                    <a:gd name="connsiteY46" fmla="*/ 731719 h 1236070"/>
                    <a:gd name="connsiteX47" fmla="*/ 104107 w 1285289"/>
                    <a:gd name="connsiteY47" fmla="*/ 733148 h 1236070"/>
                    <a:gd name="connsiteX48" fmla="*/ 102676 w 1285289"/>
                    <a:gd name="connsiteY48" fmla="*/ 733863 h 1236070"/>
                    <a:gd name="connsiteX49" fmla="*/ 101244 w 1285289"/>
                    <a:gd name="connsiteY49" fmla="*/ 734578 h 1236070"/>
                    <a:gd name="connsiteX50" fmla="*/ 98380 w 1285289"/>
                    <a:gd name="connsiteY50" fmla="*/ 735292 h 1236070"/>
                    <a:gd name="connsiteX51" fmla="*/ 97664 w 1285289"/>
                    <a:gd name="connsiteY51" fmla="*/ 735292 h 1236070"/>
                    <a:gd name="connsiteX52" fmla="*/ 96949 w 1285289"/>
                    <a:gd name="connsiteY52" fmla="*/ 735292 h 1236070"/>
                    <a:gd name="connsiteX53" fmla="*/ 96949 w 1285289"/>
                    <a:gd name="connsiteY53" fmla="*/ 736007 h 1236070"/>
                    <a:gd name="connsiteX54" fmla="*/ 95517 w 1285289"/>
                    <a:gd name="connsiteY54" fmla="*/ 736007 h 1236070"/>
                    <a:gd name="connsiteX55" fmla="*/ 92653 w 1285289"/>
                    <a:gd name="connsiteY55" fmla="*/ 735292 h 1236070"/>
                    <a:gd name="connsiteX56" fmla="*/ 89790 w 1285289"/>
                    <a:gd name="connsiteY56" fmla="*/ 734578 h 1236070"/>
                    <a:gd name="connsiteX57" fmla="*/ 87642 w 1285289"/>
                    <a:gd name="connsiteY57" fmla="*/ 733863 h 1236070"/>
                    <a:gd name="connsiteX58" fmla="*/ 85494 w 1285289"/>
                    <a:gd name="connsiteY58" fmla="*/ 732434 h 1236070"/>
                    <a:gd name="connsiteX59" fmla="*/ 84778 w 1285289"/>
                    <a:gd name="connsiteY59" fmla="*/ 731719 h 1236070"/>
                    <a:gd name="connsiteX60" fmla="*/ 5315 w 1285289"/>
                    <a:gd name="connsiteY60" fmla="*/ 660963 h 1236070"/>
                    <a:gd name="connsiteX61" fmla="*/ 3883 w 1285289"/>
                    <a:gd name="connsiteY61" fmla="*/ 638807 h 1236070"/>
                    <a:gd name="connsiteX62" fmla="*/ 26075 w 1285289"/>
                    <a:gd name="connsiteY62" fmla="*/ 637378 h 1236070"/>
                    <a:gd name="connsiteX63" fmla="*/ 74756 w 1285289"/>
                    <a:gd name="connsiteY63" fmla="*/ 680975 h 1236070"/>
                    <a:gd name="connsiteX64" fmla="*/ 76904 w 1285289"/>
                    <a:gd name="connsiteY64" fmla="*/ 559475 h 1236070"/>
                    <a:gd name="connsiteX65" fmla="*/ 520755 w 1285289"/>
                    <a:gd name="connsiteY65" fmla="*/ 47032 h 1236070"/>
                    <a:gd name="connsiteX66" fmla="*/ 932443 w 1285289"/>
                    <a:gd name="connsiteY66" fmla="*/ 1029 h 1236070"/>
                    <a:gd name="connsiteX67" fmla="*/ 941187 w 1285289"/>
                    <a:gd name="connsiteY67" fmla="*/ 9230 h 1236070"/>
                    <a:gd name="connsiteX68" fmla="*/ 933335 w 1285289"/>
                    <a:gd name="connsiteY68" fmla="*/ 29910 h 1236070"/>
                    <a:gd name="connsiteX69" fmla="*/ 874090 w 1285289"/>
                    <a:gd name="connsiteY69" fmla="*/ 57009 h 1236070"/>
                    <a:gd name="connsiteX70" fmla="*/ 1283809 w 1285289"/>
                    <a:gd name="connsiteY70" fmla="*/ 671716 h 1236070"/>
                    <a:gd name="connsiteX71" fmla="*/ 1270960 w 1285289"/>
                    <a:gd name="connsiteY71" fmla="*/ 762995 h 1236070"/>
                    <a:gd name="connsiteX72" fmla="*/ 1242409 w 1285289"/>
                    <a:gd name="connsiteY72" fmla="*/ 745880 h 1236070"/>
                    <a:gd name="connsiteX73" fmla="*/ 1252402 w 1285289"/>
                    <a:gd name="connsiteY73" fmla="*/ 669577 h 1236070"/>
                    <a:gd name="connsiteX74" fmla="*/ 862669 w 1285289"/>
                    <a:gd name="connsiteY74" fmla="*/ 86247 h 1236070"/>
                    <a:gd name="connsiteX75" fmla="*/ 896932 w 1285289"/>
                    <a:gd name="connsiteY75" fmla="*/ 146149 h 1236070"/>
                    <a:gd name="connsiteX76" fmla="*/ 890507 w 1285289"/>
                    <a:gd name="connsiteY76" fmla="*/ 167542 h 1236070"/>
                    <a:gd name="connsiteX77" fmla="*/ 882656 w 1285289"/>
                    <a:gd name="connsiteY77" fmla="*/ 169681 h 1236070"/>
                    <a:gd name="connsiteX78" fmla="*/ 869094 w 1285289"/>
                    <a:gd name="connsiteY78" fmla="*/ 161837 h 1236070"/>
                    <a:gd name="connsiteX79" fmla="*/ 815559 w 1285289"/>
                    <a:gd name="connsiteY79" fmla="*/ 67706 h 1236070"/>
                    <a:gd name="connsiteX80" fmla="*/ 815559 w 1285289"/>
                    <a:gd name="connsiteY80" fmla="*/ 66993 h 1236070"/>
                    <a:gd name="connsiteX81" fmla="*/ 815559 w 1285289"/>
                    <a:gd name="connsiteY81" fmla="*/ 66279 h 1236070"/>
                    <a:gd name="connsiteX82" fmla="*/ 814845 w 1285289"/>
                    <a:gd name="connsiteY82" fmla="*/ 65566 h 1236070"/>
                    <a:gd name="connsiteX83" fmla="*/ 814845 w 1285289"/>
                    <a:gd name="connsiteY83" fmla="*/ 64853 h 1236070"/>
                    <a:gd name="connsiteX84" fmla="*/ 814845 w 1285289"/>
                    <a:gd name="connsiteY84" fmla="*/ 64140 h 1236070"/>
                    <a:gd name="connsiteX85" fmla="*/ 814131 w 1285289"/>
                    <a:gd name="connsiteY85" fmla="*/ 63427 h 1236070"/>
                    <a:gd name="connsiteX86" fmla="*/ 814131 w 1285289"/>
                    <a:gd name="connsiteY86" fmla="*/ 62714 h 1236070"/>
                    <a:gd name="connsiteX87" fmla="*/ 814131 w 1285289"/>
                    <a:gd name="connsiteY87" fmla="*/ 62001 h 1236070"/>
                    <a:gd name="connsiteX88" fmla="*/ 814131 w 1285289"/>
                    <a:gd name="connsiteY88" fmla="*/ 61288 h 1236070"/>
                    <a:gd name="connsiteX89" fmla="*/ 814131 w 1285289"/>
                    <a:gd name="connsiteY89" fmla="*/ 60574 h 1236070"/>
                    <a:gd name="connsiteX90" fmla="*/ 814131 w 1285289"/>
                    <a:gd name="connsiteY90" fmla="*/ 59861 h 1236070"/>
                    <a:gd name="connsiteX91" fmla="*/ 814131 w 1285289"/>
                    <a:gd name="connsiteY91" fmla="*/ 58435 h 1236070"/>
                    <a:gd name="connsiteX92" fmla="*/ 814131 w 1285289"/>
                    <a:gd name="connsiteY92" fmla="*/ 57722 h 1236070"/>
                    <a:gd name="connsiteX93" fmla="*/ 814131 w 1285289"/>
                    <a:gd name="connsiteY93" fmla="*/ 57009 h 1236070"/>
                    <a:gd name="connsiteX94" fmla="*/ 814131 w 1285289"/>
                    <a:gd name="connsiteY94" fmla="*/ 56296 h 1236070"/>
                    <a:gd name="connsiteX95" fmla="*/ 814845 w 1285289"/>
                    <a:gd name="connsiteY95" fmla="*/ 55583 h 1236070"/>
                    <a:gd name="connsiteX96" fmla="*/ 814845 w 1285289"/>
                    <a:gd name="connsiteY96" fmla="*/ 54870 h 1236070"/>
                    <a:gd name="connsiteX97" fmla="*/ 815559 w 1285289"/>
                    <a:gd name="connsiteY97" fmla="*/ 52017 h 1236070"/>
                    <a:gd name="connsiteX98" fmla="*/ 816273 w 1285289"/>
                    <a:gd name="connsiteY98" fmla="*/ 52017 h 1236070"/>
                    <a:gd name="connsiteX99" fmla="*/ 817700 w 1285289"/>
                    <a:gd name="connsiteY99" fmla="*/ 49878 h 1236070"/>
                    <a:gd name="connsiteX100" fmla="*/ 819842 w 1285289"/>
                    <a:gd name="connsiteY100" fmla="*/ 47738 h 1236070"/>
                    <a:gd name="connsiteX101" fmla="*/ 820555 w 1285289"/>
                    <a:gd name="connsiteY101" fmla="*/ 47738 h 1236070"/>
                    <a:gd name="connsiteX102" fmla="*/ 822697 w 1285289"/>
                    <a:gd name="connsiteY102" fmla="*/ 45599 h 1236070"/>
                    <a:gd name="connsiteX103" fmla="*/ 920487 w 1285289"/>
                    <a:gd name="connsiteY103" fmla="*/ 1386 h 1236070"/>
                    <a:gd name="connsiteX104" fmla="*/ 932443 w 1285289"/>
                    <a:gd name="connsiteY104" fmla="*/ 1029 h 1236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</a:cxnLst>
                  <a:rect l="l" t="t" r="r" b="b"/>
                  <a:pathLst>
                    <a:path w="1285289" h="1236070">
                      <a:moveTo>
                        <a:pt x="233276" y="991595"/>
                      </a:moveTo>
                      <a:cubicBezTo>
                        <a:pt x="331187" y="1112763"/>
                        <a:pt x="472694" y="1189741"/>
                        <a:pt x="630639" y="1202571"/>
                      </a:cubicBezTo>
                      <a:cubicBezTo>
                        <a:pt x="797874" y="1216826"/>
                        <a:pt x="958678" y="1159093"/>
                        <a:pt x="1078030" y="1042201"/>
                      </a:cubicBezTo>
                      <a:cubicBezTo>
                        <a:pt x="1078030" y="1042201"/>
                        <a:pt x="1078030" y="1042201"/>
                        <a:pt x="1008706" y="1044339"/>
                      </a:cubicBezTo>
                      <a:cubicBezTo>
                        <a:pt x="1000130" y="1045052"/>
                        <a:pt x="992983" y="1037924"/>
                        <a:pt x="992268" y="1029371"/>
                      </a:cubicBezTo>
                      <a:cubicBezTo>
                        <a:pt x="992268" y="1020818"/>
                        <a:pt x="999415" y="1013691"/>
                        <a:pt x="1007991" y="1012978"/>
                      </a:cubicBezTo>
                      <a:cubicBezTo>
                        <a:pt x="1007991" y="1012978"/>
                        <a:pt x="1007991" y="1012978"/>
                        <a:pt x="1115908" y="1010127"/>
                      </a:cubicBezTo>
                      <a:cubicBezTo>
                        <a:pt x="1116623" y="1010127"/>
                        <a:pt x="1117338" y="1010127"/>
                        <a:pt x="1118052" y="1010127"/>
                      </a:cubicBezTo>
                      <a:cubicBezTo>
                        <a:pt x="1118052" y="1010127"/>
                        <a:pt x="1118052" y="1010127"/>
                        <a:pt x="1118767" y="1010127"/>
                      </a:cubicBezTo>
                      <a:cubicBezTo>
                        <a:pt x="1119482" y="1010127"/>
                        <a:pt x="1120196" y="1010127"/>
                        <a:pt x="1120911" y="1010840"/>
                      </a:cubicBezTo>
                      <a:cubicBezTo>
                        <a:pt x="1120911" y="1010840"/>
                        <a:pt x="1120911" y="1010840"/>
                        <a:pt x="1121626" y="1010840"/>
                      </a:cubicBezTo>
                      <a:cubicBezTo>
                        <a:pt x="1122340" y="1010840"/>
                        <a:pt x="1123055" y="1011552"/>
                        <a:pt x="1123770" y="1012265"/>
                      </a:cubicBezTo>
                      <a:cubicBezTo>
                        <a:pt x="1123770" y="1012265"/>
                        <a:pt x="1123770" y="1012265"/>
                        <a:pt x="1124484" y="1012265"/>
                      </a:cubicBezTo>
                      <a:cubicBezTo>
                        <a:pt x="1125199" y="1012265"/>
                        <a:pt x="1125914" y="1012978"/>
                        <a:pt x="1126628" y="1013691"/>
                      </a:cubicBezTo>
                      <a:cubicBezTo>
                        <a:pt x="1126628" y="1014403"/>
                        <a:pt x="1127343" y="1014403"/>
                        <a:pt x="1127343" y="1014403"/>
                      </a:cubicBezTo>
                      <a:cubicBezTo>
                        <a:pt x="1128058" y="1015116"/>
                        <a:pt x="1128058" y="1015829"/>
                        <a:pt x="1128772" y="1015829"/>
                      </a:cubicBezTo>
                      <a:cubicBezTo>
                        <a:pt x="1128772" y="1016542"/>
                        <a:pt x="1128772" y="1016542"/>
                        <a:pt x="1128772" y="1016542"/>
                      </a:cubicBezTo>
                      <a:cubicBezTo>
                        <a:pt x="1129487" y="1017254"/>
                        <a:pt x="1130202" y="1017967"/>
                        <a:pt x="1130202" y="1018680"/>
                      </a:cubicBezTo>
                      <a:cubicBezTo>
                        <a:pt x="1130202" y="1018680"/>
                        <a:pt x="1130202" y="1018680"/>
                        <a:pt x="1130202" y="1019393"/>
                      </a:cubicBezTo>
                      <a:cubicBezTo>
                        <a:pt x="1130917" y="1020105"/>
                        <a:pt x="1130917" y="1020818"/>
                        <a:pt x="1131631" y="1021531"/>
                      </a:cubicBezTo>
                      <a:cubicBezTo>
                        <a:pt x="1131631" y="1021531"/>
                        <a:pt x="1131631" y="1021531"/>
                        <a:pt x="1131631" y="1022244"/>
                      </a:cubicBezTo>
                      <a:cubicBezTo>
                        <a:pt x="1131631" y="1022956"/>
                        <a:pt x="1131631" y="1023669"/>
                        <a:pt x="1131631" y="1024382"/>
                      </a:cubicBezTo>
                      <a:cubicBezTo>
                        <a:pt x="1131631" y="1024382"/>
                        <a:pt x="1131631" y="1024382"/>
                        <a:pt x="1131631" y="1025095"/>
                      </a:cubicBezTo>
                      <a:cubicBezTo>
                        <a:pt x="1131631" y="1025095"/>
                        <a:pt x="1131631" y="1025807"/>
                        <a:pt x="1131631" y="1026520"/>
                      </a:cubicBezTo>
                      <a:cubicBezTo>
                        <a:pt x="1131631" y="1026520"/>
                        <a:pt x="1131631" y="1026520"/>
                        <a:pt x="1126628" y="1132008"/>
                      </a:cubicBezTo>
                      <a:cubicBezTo>
                        <a:pt x="1125914" y="1140561"/>
                        <a:pt x="1118767" y="1147689"/>
                        <a:pt x="1110905" y="1147689"/>
                      </a:cubicBezTo>
                      <a:cubicBezTo>
                        <a:pt x="1110191" y="1147689"/>
                        <a:pt x="1110191" y="1147689"/>
                        <a:pt x="1110191" y="1147689"/>
                      </a:cubicBezTo>
                      <a:cubicBezTo>
                        <a:pt x="1100900" y="1147689"/>
                        <a:pt x="1094468" y="1139135"/>
                        <a:pt x="1095182" y="1130582"/>
                      </a:cubicBezTo>
                      <a:cubicBezTo>
                        <a:pt x="1095182" y="1130582"/>
                        <a:pt x="1095182" y="1130582"/>
                        <a:pt x="1098041" y="1066434"/>
                      </a:cubicBezTo>
                      <a:cubicBezTo>
                        <a:pt x="1042296" y="1119891"/>
                        <a:pt x="976545" y="1163369"/>
                        <a:pt x="905077" y="1192592"/>
                      </a:cubicBezTo>
                      <a:cubicBezTo>
                        <a:pt x="833609" y="1221815"/>
                        <a:pt x="757852" y="1236070"/>
                        <a:pt x="679952" y="1236070"/>
                      </a:cubicBezTo>
                      <a:cubicBezTo>
                        <a:pt x="662799" y="1236070"/>
                        <a:pt x="645647" y="1235357"/>
                        <a:pt x="627780" y="1233932"/>
                      </a:cubicBezTo>
                      <a:cubicBezTo>
                        <a:pt x="532013" y="1226092"/>
                        <a:pt x="441963" y="1196156"/>
                        <a:pt x="361918" y="1146263"/>
                      </a:cubicBezTo>
                      <a:cubicBezTo>
                        <a:pt x="302600" y="1109200"/>
                        <a:pt x="249713" y="1062158"/>
                        <a:pt x="206118" y="1007988"/>
                      </a:cubicBezTo>
                      <a:cubicBezTo>
                        <a:pt x="216123" y="1003712"/>
                        <a:pt x="224699" y="998010"/>
                        <a:pt x="233276" y="991595"/>
                      </a:cubicBezTo>
                      <a:close/>
                      <a:moveTo>
                        <a:pt x="520755" y="47032"/>
                      </a:moveTo>
                      <a:cubicBezTo>
                        <a:pt x="520755" y="47747"/>
                        <a:pt x="520755" y="49176"/>
                        <a:pt x="520755" y="49891"/>
                      </a:cubicBezTo>
                      <a:cubicBezTo>
                        <a:pt x="520755" y="59897"/>
                        <a:pt x="521471" y="69188"/>
                        <a:pt x="523619" y="78479"/>
                      </a:cubicBezTo>
                      <a:cubicBezTo>
                        <a:pt x="303841" y="139944"/>
                        <a:pt x="136322" y="329340"/>
                        <a:pt x="108403" y="563049"/>
                      </a:cubicBezTo>
                      <a:cubicBezTo>
                        <a:pt x="104107" y="601643"/>
                        <a:pt x="103392" y="640237"/>
                        <a:pt x="106255" y="678831"/>
                      </a:cubicBezTo>
                      <a:cubicBezTo>
                        <a:pt x="106255" y="678831"/>
                        <a:pt x="106255" y="678831"/>
                        <a:pt x="147061" y="624513"/>
                      </a:cubicBezTo>
                      <a:cubicBezTo>
                        <a:pt x="152788" y="617366"/>
                        <a:pt x="162094" y="615937"/>
                        <a:pt x="169253" y="620940"/>
                      </a:cubicBezTo>
                      <a:cubicBezTo>
                        <a:pt x="176412" y="625943"/>
                        <a:pt x="177844" y="635949"/>
                        <a:pt x="172833" y="643096"/>
                      </a:cubicBezTo>
                      <a:cubicBezTo>
                        <a:pt x="172833" y="643096"/>
                        <a:pt x="172833" y="643096"/>
                        <a:pt x="108403" y="728860"/>
                      </a:cubicBezTo>
                      <a:cubicBezTo>
                        <a:pt x="108403" y="728860"/>
                        <a:pt x="108403" y="728860"/>
                        <a:pt x="107687" y="729575"/>
                      </a:cubicBezTo>
                      <a:cubicBezTo>
                        <a:pt x="106971" y="730290"/>
                        <a:pt x="106255" y="731004"/>
                        <a:pt x="106255" y="731719"/>
                      </a:cubicBezTo>
                      <a:cubicBezTo>
                        <a:pt x="105539" y="731719"/>
                        <a:pt x="105539" y="731719"/>
                        <a:pt x="105539" y="731719"/>
                      </a:cubicBezTo>
                      <a:cubicBezTo>
                        <a:pt x="104823" y="732434"/>
                        <a:pt x="104107" y="733148"/>
                        <a:pt x="104107" y="733148"/>
                      </a:cubicBezTo>
                      <a:cubicBezTo>
                        <a:pt x="103392" y="733148"/>
                        <a:pt x="103392" y="733863"/>
                        <a:pt x="102676" y="733863"/>
                      </a:cubicBezTo>
                      <a:cubicBezTo>
                        <a:pt x="101960" y="733863"/>
                        <a:pt x="101960" y="734578"/>
                        <a:pt x="101244" y="734578"/>
                      </a:cubicBezTo>
                      <a:cubicBezTo>
                        <a:pt x="100528" y="734578"/>
                        <a:pt x="99096" y="735292"/>
                        <a:pt x="98380" y="735292"/>
                      </a:cubicBezTo>
                      <a:cubicBezTo>
                        <a:pt x="98380" y="735292"/>
                        <a:pt x="98380" y="735292"/>
                        <a:pt x="97664" y="735292"/>
                      </a:cubicBezTo>
                      <a:cubicBezTo>
                        <a:pt x="97664" y="735292"/>
                        <a:pt x="97664" y="735292"/>
                        <a:pt x="96949" y="735292"/>
                      </a:cubicBezTo>
                      <a:cubicBezTo>
                        <a:pt x="96949" y="735292"/>
                        <a:pt x="96949" y="735292"/>
                        <a:pt x="96949" y="736007"/>
                      </a:cubicBezTo>
                      <a:cubicBezTo>
                        <a:pt x="96233" y="736007"/>
                        <a:pt x="96233" y="736007"/>
                        <a:pt x="95517" y="736007"/>
                      </a:cubicBezTo>
                      <a:cubicBezTo>
                        <a:pt x="94085" y="736007"/>
                        <a:pt x="93369" y="736007"/>
                        <a:pt x="92653" y="735292"/>
                      </a:cubicBezTo>
                      <a:cubicBezTo>
                        <a:pt x="91937" y="735292"/>
                        <a:pt x="90506" y="735292"/>
                        <a:pt x="89790" y="734578"/>
                      </a:cubicBezTo>
                      <a:cubicBezTo>
                        <a:pt x="89074" y="734578"/>
                        <a:pt x="88358" y="734578"/>
                        <a:pt x="87642" y="733863"/>
                      </a:cubicBezTo>
                      <a:cubicBezTo>
                        <a:pt x="86926" y="733148"/>
                        <a:pt x="86210" y="733148"/>
                        <a:pt x="85494" y="732434"/>
                      </a:cubicBezTo>
                      <a:cubicBezTo>
                        <a:pt x="85494" y="732434"/>
                        <a:pt x="84778" y="732434"/>
                        <a:pt x="84778" y="731719"/>
                      </a:cubicBezTo>
                      <a:cubicBezTo>
                        <a:pt x="84778" y="731719"/>
                        <a:pt x="84778" y="731719"/>
                        <a:pt x="5315" y="660963"/>
                      </a:cubicBezTo>
                      <a:cubicBezTo>
                        <a:pt x="-1128" y="655246"/>
                        <a:pt x="-1844" y="645954"/>
                        <a:pt x="3883" y="638807"/>
                      </a:cubicBezTo>
                      <a:cubicBezTo>
                        <a:pt x="9610" y="632375"/>
                        <a:pt x="19632" y="631660"/>
                        <a:pt x="26075" y="637378"/>
                      </a:cubicBezTo>
                      <a:cubicBezTo>
                        <a:pt x="26075" y="637378"/>
                        <a:pt x="26075" y="637378"/>
                        <a:pt x="74756" y="680975"/>
                      </a:cubicBezTo>
                      <a:cubicBezTo>
                        <a:pt x="71176" y="640237"/>
                        <a:pt x="72608" y="599499"/>
                        <a:pt x="76904" y="559475"/>
                      </a:cubicBezTo>
                      <a:cubicBezTo>
                        <a:pt x="106971" y="310758"/>
                        <a:pt x="286659" y="109926"/>
                        <a:pt x="520755" y="47032"/>
                      </a:cubicBezTo>
                      <a:close/>
                      <a:moveTo>
                        <a:pt x="932443" y="1029"/>
                      </a:moveTo>
                      <a:cubicBezTo>
                        <a:pt x="936190" y="2455"/>
                        <a:pt x="939402" y="5308"/>
                        <a:pt x="941187" y="9230"/>
                      </a:cubicBezTo>
                      <a:cubicBezTo>
                        <a:pt x="944756" y="17074"/>
                        <a:pt x="941187" y="26345"/>
                        <a:pt x="933335" y="29910"/>
                      </a:cubicBezTo>
                      <a:cubicBezTo>
                        <a:pt x="933335" y="29910"/>
                        <a:pt x="933335" y="29910"/>
                        <a:pt x="874090" y="57009"/>
                      </a:cubicBezTo>
                      <a:cubicBezTo>
                        <a:pt x="1132484" y="144009"/>
                        <a:pt x="1303081" y="395740"/>
                        <a:pt x="1283809" y="671716"/>
                      </a:cubicBezTo>
                      <a:cubicBezTo>
                        <a:pt x="1281667" y="702380"/>
                        <a:pt x="1277385" y="733044"/>
                        <a:pt x="1270960" y="762995"/>
                      </a:cubicBezTo>
                      <a:cubicBezTo>
                        <a:pt x="1261681" y="755864"/>
                        <a:pt x="1252402" y="750159"/>
                        <a:pt x="1242409" y="745880"/>
                      </a:cubicBezTo>
                      <a:cubicBezTo>
                        <a:pt x="1247405" y="720921"/>
                        <a:pt x="1250974" y="695249"/>
                        <a:pt x="1252402" y="669577"/>
                      </a:cubicBezTo>
                      <a:cubicBezTo>
                        <a:pt x="1270960" y="407150"/>
                        <a:pt x="1108215" y="168255"/>
                        <a:pt x="862669" y="86247"/>
                      </a:cubicBezTo>
                      <a:cubicBezTo>
                        <a:pt x="862669" y="86247"/>
                        <a:pt x="862669" y="86247"/>
                        <a:pt x="896932" y="146149"/>
                      </a:cubicBezTo>
                      <a:cubicBezTo>
                        <a:pt x="901214" y="153993"/>
                        <a:pt x="898359" y="163263"/>
                        <a:pt x="890507" y="167542"/>
                      </a:cubicBezTo>
                      <a:cubicBezTo>
                        <a:pt x="887652" y="168968"/>
                        <a:pt x="884797" y="169681"/>
                        <a:pt x="882656" y="169681"/>
                      </a:cubicBezTo>
                      <a:cubicBezTo>
                        <a:pt x="876945" y="169681"/>
                        <a:pt x="871949" y="166829"/>
                        <a:pt x="869094" y="161837"/>
                      </a:cubicBezTo>
                      <a:cubicBezTo>
                        <a:pt x="869094" y="161837"/>
                        <a:pt x="869094" y="161837"/>
                        <a:pt x="815559" y="67706"/>
                      </a:cubicBezTo>
                      <a:cubicBezTo>
                        <a:pt x="815559" y="67706"/>
                        <a:pt x="815559" y="67706"/>
                        <a:pt x="815559" y="66993"/>
                      </a:cubicBezTo>
                      <a:cubicBezTo>
                        <a:pt x="815559" y="66993"/>
                        <a:pt x="815559" y="66993"/>
                        <a:pt x="815559" y="66279"/>
                      </a:cubicBezTo>
                      <a:cubicBezTo>
                        <a:pt x="814845" y="66279"/>
                        <a:pt x="814845" y="66279"/>
                        <a:pt x="814845" y="65566"/>
                      </a:cubicBezTo>
                      <a:cubicBezTo>
                        <a:pt x="814845" y="65566"/>
                        <a:pt x="814845" y="65566"/>
                        <a:pt x="814845" y="64853"/>
                      </a:cubicBezTo>
                      <a:cubicBezTo>
                        <a:pt x="814845" y="64853"/>
                        <a:pt x="814845" y="64853"/>
                        <a:pt x="814845" y="64140"/>
                      </a:cubicBezTo>
                      <a:cubicBezTo>
                        <a:pt x="814131" y="64140"/>
                        <a:pt x="814131" y="63427"/>
                        <a:pt x="814131" y="63427"/>
                      </a:cubicBezTo>
                      <a:cubicBezTo>
                        <a:pt x="814131" y="63427"/>
                        <a:pt x="814131" y="63427"/>
                        <a:pt x="814131" y="62714"/>
                      </a:cubicBezTo>
                      <a:cubicBezTo>
                        <a:pt x="814131" y="62714"/>
                        <a:pt x="814131" y="62714"/>
                        <a:pt x="814131" y="62001"/>
                      </a:cubicBezTo>
                      <a:cubicBezTo>
                        <a:pt x="814131" y="62001"/>
                        <a:pt x="814131" y="62001"/>
                        <a:pt x="814131" y="61288"/>
                      </a:cubicBezTo>
                      <a:cubicBezTo>
                        <a:pt x="814131" y="61288"/>
                        <a:pt x="814131" y="61288"/>
                        <a:pt x="814131" y="60574"/>
                      </a:cubicBezTo>
                      <a:cubicBezTo>
                        <a:pt x="814131" y="59861"/>
                        <a:pt x="814131" y="59861"/>
                        <a:pt x="814131" y="59861"/>
                      </a:cubicBezTo>
                      <a:cubicBezTo>
                        <a:pt x="814131" y="59148"/>
                        <a:pt x="814131" y="59148"/>
                        <a:pt x="814131" y="58435"/>
                      </a:cubicBezTo>
                      <a:cubicBezTo>
                        <a:pt x="814131" y="58435"/>
                        <a:pt x="814131" y="58435"/>
                        <a:pt x="814131" y="57722"/>
                      </a:cubicBezTo>
                      <a:cubicBezTo>
                        <a:pt x="814131" y="57722"/>
                        <a:pt x="814131" y="57722"/>
                        <a:pt x="814131" y="57009"/>
                      </a:cubicBezTo>
                      <a:cubicBezTo>
                        <a:pt x="814131" y="57009"/>
                        <a:pt x="814131" y="57009"/>
                        <a:pt x="814131" y="56296"/>
                      </a:cubicBezTo>
                      <a:cubicBezTo>
                        <a:pt x="814131" y="55583"/>
                        <a:pt x="814845" y="55583"/>
                        <a:pt x="814845" y="55583"/>
                      </a:cubicBezTo>
                      <a:cubicBezTo>
                        <a:pt x="814845" y="55583"/>
                        <a:pt x="814845" y="55583"/>
                        <a:pt x="814845" y="54870"/>
                      </a:cubicBezTo>
                      <a:cubicBezTo>
                        <a:pt x="814845" y="54156"/>
                        <a:pt x="815559" y="53443"/>
                        <a:pt x="815559" y="52017"/>
                      </a:cubicBezTo>
                      <a:cubicBezTo>
                        <a:pt x="816273" y="52017"/>
                        <a:pt x="816273" y="52017"/>
                        <a:pt x="816273" y="52017"/>
                      </a:cubicBezTo>
                      <a:cubicBezTo>
                        <a:pt x="816273" y="51304"/>
                        <a:pt x="816986" y="50591"/>
                        <a:pt x="817700" y="49878"/>
                      </a:cubicBezTo>
                      <a:cubicBezTo>
                        <a:pt x="818414" y="49165"/>
                        <a:pt x="819128" y="48451"/>
                        <a:pt x="819842" y="47738"/>
                      </a:cubicBezTo>
                      <a:cubicBezTo>
                        <a:pt x="820555" y="47738"/>
                        <a:pt x="820555" y="47738"/>
                        <a:pt x="820555" y="47738"/>
                      </a:cubicBezTo>
                      <a:cubicBezTo>
                        <a:pt x="821269" y="47025"/>
                        <a:pt x="821983" y="46312"/>
                        <a:pt x="822697" y="45599"/>
                      </a:cubicBezTo>
                      <a:cubicBezTo>
                        <a:pt x="822697" y="45599"/>
                        <a:pt x="822697" y="45599"/>
                        <a:pt x="920487" y="1386"/>
                      </a:cubicBezTo>
                      <a:cubicBezTo>
                        <a:pt x="924413" y="-397"/>
                        <a:pt x="928696" y="-397"/>
                        <a:pt x="932443" y="1029"/>
                      </a:cubicBezTo>
                      <a:close/>
                    </a:path>
                  </a:pathLst>
                </a:custGeom>
                <a:solidFill>
                  <a:srgbClr val="05193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40"/>
                <p:cNvSpPr>
                  <a:spLocks/>
                </p:cNvSpPr>
                <p:nvPr/>
              </p:nvSpPr>
              <p:spPr bwMode="auto">
                <a:xfrm>
                  <a:off x="5468938" y="2692400"/>
                  <a:ext cx="1257300" cy="1049338"/>
                </a:xfrm>
                <a:custGeom>
                  <a:avLst/>
                  <a:gdLst>
                    <a:gd name="connsiteX0" fmla="*/ 1202365 w 1257300"/>
                    <a:gd name="connsiteY0" fmla="*/ 890162 h 1049338"/>
                    <a:gd name="connsiteX1" fmla="*/ 1194553 w 1257300"/>
                    <a:gd name="connsiteY1" fmla="*/ 893290 h 1049338"/>
                    <a:gd name="connsiteX2" fmla="*/ 1188871 w 1257300"/>
                    <a:gd name="connsiteY2" fmla="*/ 899010 h 1049338"/>
                    <a:gd name="connsiteX3" fmla="*/ 1131345 w 1257300"/>
                    <a:gd name="connsiteY3" fmla="*/ 956209 h 1049338"/>
                    <a:gd name="connsiteX4" fmla="*/ 1099386 w 1257300"/>
                    <a:gd name="connsiteY4" fmla="*/ 929754 h 1049338"/>
                    <a:gd name="connsiteX5" fmla="*/ 1083761 w 1257300"/>
                    <a:gd name="connsiteY5" fmla="*/ 931184 h 1049338"/>
                    <a:gd name="connsiteX6" fmla="*/ 1085182 w 1257300"/>
                    <a:gd name="connsiteY6" fmla="*/ 947629 h 1049338"/>
                    <a:gd name="connsiteX7" fmla="*/ 1124953 w 1257300"/>
                    <a:gd name="connsiteY7" fmla="*/ 979803 h 1049338"/>
                    <a:gd name="connsiteX8" fmla="*/ 1132055 w 1257300"/>
                    <a:gd name="connsiteY8" fmla="*/ 982663 h 1049338"/>
                    <a:gd name="connsiteX9" fmla="*/ 1139157 w 1257300"/>
                    <a:gd name="connsiteY9" fmla="*/ 979088 h 1049338"/>
                    <a:gd name="connsiteX10" fmla="*/ 1210177 w 1257300"/>
                    <a:gd name="connsiteY10" fmla="*/ 909735 h 1049338"/>
                    <a:gd name="connsiteX11" fmla="*/ 1212308 w 1257300"/>
                    <a:gd name="connsiteY11" fmla="*/ 896150 h 1049338"/>
                    <a:gd name="connsiteX12" fmla="*/ 1210177 w 1257300"/>
                    <a:gd name="connsiteY12" fmla="*/ 894005 h 1049338"/>
                    <a:gd name="connsiteX13" fmla="*/ 1202365 w 1257300"/>
                    <a:gd name="connsiteY13" fmla="*/ 890162 h 1049338"/>
                    <a:gd name="connsiteX14" fmla="*/ 111919 w 1257300"/>
                    <a:gd name="connsiteY14" fmla="*/ 877406 h 1049338"/>
                    <a:gd name="connsiteX15" fmla="*/ 111210 w 1257300"/>
                    <a:gd name="connsiteY15" fmla="*/ 893816 h 1049338"/>
                    <a:gd name="connsiteX16" fmla="*/ 140963 w 1257300"/>
                    <a:gd name="connsiteY16" fmla="*/ 927350 h 1049338"/>
                    <a:gd name="connsiteX17" fmla="*/ 57372 w 1257300"/>
                    <a:gd name="connsiteY17" fmla="*/ 927350 h 1049338"/>
                    <a:gd name="connsiteX18" fmla="*/ 46037 w 1257300"/>
                    <a:gd name="connsiteY18" fmla="*/ 938766 h 1049338"/>
                    <a:gd name="connsiteX19" fmla="*/ 57372 w 1257300"/>
                    <a:gd name="connsiteY19" fmla="*/ 950181 h 1049338"/>
                    <a:gd name="connsiteX20" fmla="*/ 140255 w 1257300"/>
                    <a:gd name="connsiteY20" fmla="*/ 950181 h 1049338"/>
                    <a:gd name="connsiteX21" fmla="*/ 111210 w 1257300"/>
                    <a:gd name="connsiteY21" fmla="*/ 980861 h 1049338"/>
                    <a:gd name="connsiteX22" fmla="*/ 111919 w 1257300"/>
                    <a:gd name="connsiteY22" fmla="*/ 997271 h 1049338"/>
                    <a:gd name="connsiteX23" fmla="*/ 119711 w 1257300"/>
                    <a:gd name="connsiteY23" fmla="*/ 1000125 h 1049338"/>
                    <a:gd name="connsiteX24" fmla="*/ 128212 w 1257300"/>
                    <a:gd name="connsiteY24" fmla="*/ 996558 h 1049338"/>
                    <a:gd name="connsiteX25" fmla="*/ 174258 w 1257300"/>
                    <a:gd name="connsiteY25" fmla="*/ 946614 h 1049338"/>
                    <a:gd name="connsiteX26" fmla="*/ 174967 w 1257300"/>
                    <a:gd name="connsiteY26" fmla="*/ 946614 h 1049338"/>
                    <a:gd name="connsiteX27" fmla="*/ 175675 w 1257300"/>
                    <a:gd name="connsiteY27" fmla="*/ 945187 h 1049338"/>
                    <a:gd name="connsiteX28" fmla="*/ 176383 w 1257300"/>
                    <a:gd name="connsiteY28" fmla="*/ 944473 h 1049338"/>
                    <a:gd name="connsiteX29" fmla="*/ 176383 w 1257300"/>
                    <a:gd name="connsiteY29" fmla="*/ 943760 h 1049338"/>
                    <a:gd name="connsiteX30" fmla="*/ 177092 w 1257300"/>
                    <a:gd name="connsiteY30" fmla="*/ 943046 h 1049338"/>
                    <a:gd name="connsiteX31" fmla="*/ 177092 w 1257300"/>
                    <a:gd name="connsiteY31" fmla="*/ 942333 h 1049338"/>
                    <a:gd name="connsiteX32" fmla="*/ 177092 w 1257300"/>
                    <a:gd name="connsiteY32" fmla="*/ 940906 h 1049338"/>
                    <a:gd name="connsiteX33" fmla="*/ 177800 w 1257300"/>
                    <a:gd name="connsiteY33" fmla="*/ 940906 h 1049338"/>
                    <a:gd name="connsiteX34" fmla="*/ 177800 w 1257300"/>
                    <a:gd name="connsiteY34" fmla="*/ 938766 h 1049338"/>
                    <a:gd name="connsiteX35" fmla="*/ 177800 w 1257300"/>
                    <a:gd name="connsiteY35" fmla="*/ 938052 h 1049338"/>
                    <a:gd name="connsiteX36" fmla="*/ 177800 w 1257300"/>
                    <a:gd name="connsiteY36" fmla="*/ 936625 h 1049338"/>
                    <a:gd name="connsiteX37" fmla="*/ 177092 w 1257300"/>
                    <a:gd name="connsiteY37" fmla="*/ 935912 h 1049338"/>
                    <a:gd name="connsiteX38" fmla="*/ 177092 w 1257300"/>
                    <a:gd name="connsiteY38" fmla="*/ 934485 h 1049338"/>
                    <a:gd name="connsiteX39" fmla="*/ 176383 w 1257300"/>
                    <a:gd name="connsiteY39" fmla="*/ 934485 h 1049338"/>
                    <a:gd name="connsiteX40" fmla="*/ 175675 w 1257300"/>
                    <a:gd name="connsiteY40" fmla="*/ 932344 h 1049338"/>
                    <a:gd name="connsiteX41" fmla="*/ 174967 w 1257300"/>
                    <a:gd name="connsiteY41" fmla="*/ 930917 h 1049338"/>
                    <a:gd name="connsiteX42" fmla="*/ 128212 w 1257300"/>
                    <a:gd name="connsiteY42" fmla="*/ 878120 h 1049338"/>
                    <a:gd name="connsiteX43" fmla="*/ 111919 w 1257300"/>
                    <a:gd name="connsiteY43" fmla="*/ 877406 h 1049338"/>
                    <a:gd name="connsiteX44" fmla="*/ 1146614 w 1257300"/>
                    <a:gd name="connsiteY44" fmla="*/ 825500 h 1049338"/>
                    <a:gd name="connsiteX45" fmla="*/ 1197700 w 1257300"/>
                    <a:gd name="connsiteY45" fmla="*/ 838363 h 1049338"/>
                    <a:gd name="connsiteX46" fmla="*/ 1224662 w 1257300"/>
                    <a:gd name="connsiteY46" fmla="*/ 857658 h 1049338"/>
                    <a:gd name="connsiteX47" fmla="*/ 1257300 w 1257300"/>
                    <a:gd name="connsiteY47" fmla="*/ 936982 h 1049338"/>
                    <a:gd name="connsiteX48" fmla="*/ 1146614 w 1257300"/>
                    <a:gd name="connsiteY48" fmla="*/ 1047750 h 1049338"/>
                    <a:gd name="connsiteX49" fmla="*/ 1036637 w 1257300"/>
                    <a:gd name="connsiteY49" fmla="*/ 936268 h 1049338"/>
                    <a:gd name="connsiteX50" fmla="*/ 1146614 w 1257300"/>
                    <a:gd name="connsiteY50" fmla="*/ 825500 h 1049338"/>
                    <a:gd name="connsiteX51" fmla="*/ 111919 w 1257300"/>
                    <a:gd name="connsiteY51" fmla="*/ 825500 h 1049338"/>
                    <a:gd name="connsiteX52" fmla="*/ 223838 w 1257300"/>
                    <a:gd name="connsiteY52" fmla="*/ 937777 h 1049338"/>
                    <a:gd name="connsiteX53" fmla="*/ 179358 w 1257300"/>
                    <a:gd name="connsiteY53" fmla="*/ 1026454 h 1049338"/>
                    <a:gd name="connsiteX54" fmla="*/ 151378 w 1257300"/>
                    <a:gd name="connsiteY54" fmla="*/ 1042187 h 1049338"/>
                    <a:gd name="connsiteX55" fmla="*/ 111919 w 1257300"/>
                    <a:gd name="connsiteY55" fmla="*/ 1049338 h 1049338"/>
                    <a:gd name="connsiteX56" fmla="*/ 0 w 1257300"/>
                    <a:gd name="connsiteY56" fmla="*/ 937062 h 1049338"/>
                    <a:gd name="connsiteX57" fmla="*/ 111919 w 1257300"/>
                    <a:gd name="connsiteY57" fmla="*/ 825500 h 1049338"/>
                    <a:gd name="connsiteX58" fmla="*/ 582076 w 1257300"/>
                    <a:gd name="connsiteY58" fmla="*/ 64618 h 1049338"/>
                    <a:gd name="connsiteX59" fmla="*/ 582076 w 1257300"/>
                    <a:gd name="connsiteY59" fmla="*/ 81074 h 1049338"/>
                    <a:gd name="connsiteX60" fmla="*/ 590528 w 1257300"/>
                    <a:gd name="connsiteY60" fmla="*/ 89660 h 1049338"/>
                    <a:gd name="connsiteX61" fmla="*/ 611657 w 1257300"/>
                    <a:gd name="connsiteY61" fmla="*/ 111841 h 1049338"/>
                    <a:gd name="connsiteX62" fmla="*/ 603206 w 1257300"/>
                    <a:gd name="connsiteY62" fmla="*/ 120427 h 1049338"/>
                    <a:gd name="connsiteX63" fmla="*/ 582076 w 1257300"/>
                    <a:gd name="connsiteY63" fmla="*/ 142607 h 1049338"/>
                    <a:gd name="connsiteX64" fmla="*/ 582076 w 1257300"/>
                    <a:gd name="connsiteY64" fmla="*/ 159063 h 1049338"/>
                    <a:gd name="connsiteX65" fmla="*/ 589824 w 1257300"/>
                    <a:gd name="connsiteY65" fmla="*/ 161925 h 1049338"/>
                    <a:gd name="connsiteX66" fmla="*/ 598275 w 1257300"/>
                    <a:gd name="connsiteY66" fmla="*/ 159063 h 1049338"/>
                    <a:gd name="connsiteX67" fmla="*/ 627857 w 1257300"/>
                    <a:gd name="connsiteY67" fmla="*/ 128297 h 1049338"/>
                    <a:gd name="connsiteX68" fmla="*/ 657438 w 1257300"/>
                    <a:gd name="connsiteY68" fmla="*/ 159063 h 1049338"/>
                    <a:gd name="connsiteX69" fmla="*/ 665890 w 1257300"/>
                    <a:gd name="connsiteY69" fmla="*/ 161925 h 1049338"/>
                    <a:gd name="connsiteX70" fmla="*/ 673637 w 1257300"/>
                    <a:gd name="connsiteY70" fmla="*/ 159063 h 1049338"/>
                    <a:gd name="connsiteX71" fmla="*/ 673637 w 1257300"/>
                    <a:gd name="connsiteY71" fmla="*/ 142607 h 1049338"/>
                    <a:gd name="connsiteX72" fmla="*/ 644056 w 1257300"/>
                    <a:gd name="connsiteY72" fmla="*/ 111841 h 1049338"/>
                    <a:gd name="connsiteX73" fmla="*/ 673637 w 1257300"/>
                    <a:gd name="connsiteY73" fmla="*/ 81074 h 1049338"/>
                    <a:gd name="connsiteX74" fmla="*/ 673637 w 1257300"/>
                    <a:gd name="connsiteY74" fmla="*/ 64618 h 1049338"/>
                    <a:gd name="connsiteX75" fmla="*/ 657438 w 1257300"/>
                    <a:gd name="connsiteY75" fmla="*/ 64618 h 1049338"/>
                    <a:gd name="connsiteX76" fmla="*/ 627857 w 1257300"/>
                    <a:gd name="connsiteY76" fmla="*/ 95384 h 1049338"/>
                    <a:gd name="connsiteX77" fmla="*/ 598275 w 1257300"/>
                    <a:gd name="connsiteY77" fmla="*/ 64618 h 1049338"/>
                    <a:gd name="connsiteX78" fmla="*/ 582076 w 1257300"/>
                    <a:gd name="connsiteY78" fmla="*/ 64618 h 1049338"/>
                    <a:gd name="connsiteX79" fmla="*/ 627856 w 1257300"/>
                    <a:gd name="connsiteY79" fmla="*/ 0 h 1049338"/>
                    <a:gd name="connsiteX80" fmla="*/ 739775 w 1257300"/>
                    <a:gd name="connsiteY80" fmla="*/ 111562 h 1049338"/>
                    <a:gd name="connsiteX81" fmla="*/ 627856 w 1257300"/>
                    <a:gd name="connsiteY81" fmla="*/ 223838 h 1049338"/>
                    <a:gd name="connsiteX82" fmla="*/ 518076 w 1257300"/>
                    <a:gd name="connsiteY82" fmla="*/ 133016 h 1049338"/>
                    <a:gd name="connsiteX83" fmla="*/ 515937 w 1257300"/>
                    <a:gd name="connsiteY83" fmla="*/ 110846 h 1049338"/>
                    <a:gd name="connsiteX84" fmla="*/ 516650 w 1257300"/>
                    <a:gd name="connsiteY84" fmla="*/ 100119 h 1049338"/>
                    <a:gd name="connsiteX85" fmla="*/ 627856 w 1257300"/>
                    <a:gd name="connsiteY85" fmla="*/ 0 h 1049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1257300" h="1049338">
                      <a:moveTo>
                        <a:pt x="1202365" y="890162"/>
                      </a:moveTo>
                      <a:cubicBezTo>
                        <a:pt x="1199524" y="890073"/>
                        <a:pt x="1196684" y="891145"/>
                        <a:pt x="1194553" y="893290"/>
                      </a:cubicBezTo>
                      <a:cubicBezTo>
                        <a:pt x="1194553" y="893290"/>
                        <a:pt x="1194553" y="893290"/>
                        <a:pt x="1188871" y="899010"/>
                      </a:cubicBezTo>
                      <a:cubicBezTo>
                        <a:pt x="1188871" y="899010"/>
                        <a:pt x="1188871" y="899010"/>
                        <a:pt x="1131345" y="956209"/>
                      </a:cubicBezTo>
                      <a:cubicBezTo>
                        <a:pt x="1131345" y="956209"/>
                        <a:pt x="1131345" y="956209"/>
                        <a:pt x="1099386" y="929754"/>
                      </a:cubicBezTo>
                      <a:cubicBezTo>
                        <a:pt x="1094414" y="925464"/>
                        <a:pt x="1087312" y="926179"/>
                        <a:pt x="1083761" y="931184"/>
                      </a:cubicBezTo>
                      <a:cubicBezTo>
                        <a:pt x="1079500" y="936189"/>
                        <a:pt x="1080210" y="943339"/>
                        <a:pt x="1085182" y="947629"/>
                      </a:cubicBezTo>
                      <a:cubicBezTo>
                        <a:pt x="1085182" y="947629"/>
                        <a:pt x="1085182" y="947629"/>
                        <a:pt x="1124953" y="979803"/>
                      </a:cubicBezTo>
                      <a:cubicBezTo>
                        <a:pt x="1127084" y="981233"/>
                        <a:pt x="1129214" y="982663"/>
                        <a:pt x="1132055" y="982663"/>
                      </a:cubicBezTo>
                      <a:cubicBezTo>
                        <a:pt x="1134186" y="982663"/>
                        <a:pt x="1137026" y="981233"/>
                        <a:pt x="1139157" y="979088"/>
                      </a:cubicBezTo>
                      <a:cubicBezTo>
                        <a:pt x="1139157" y="979088"/>
                        <a:pt x="1139157" y="979088"/>
                        <a:pt x="1210177" y="909735"/>
                      </a:cubicBezTo>
                      <a:cubicBezTo>
                        <a:pt x="1213728" y="906160"/>
                        <a:pt x="1214438" y="900440"/>
                        <a:pt x="1212308" y="896150"/>
                      </a:cubicBezTo>
                      <a:cubicBezTo>
                        <a:pt x="1211597" y="895435"/>
                        <a:pt x="1210887" y="894720"/>
                        <a:pt x="1210177" y="894005"/>
                      </a:cubicBezTo>
                      <a:cubicBezTo>
                        <a:pt x="1208047" y="891503"/>
                        <a:pt x="1205206" y="890251"/>
                        <a:pt x="1202365" y="890162"/>
                      </a:cubicBezTo>
                      <a:close/>
                      <a:moveTo>
                        <a:pt x="111919" y="877406"/>
                      </a:moveTo>
                      <a:cubicBezTo>
                        <a:pt x="107668" y="881687"/>
                        <a:pt x="106960" y="888822"/>
                        <a:pt x="111210" y="893816"/>
                      </a:cubicBezTo>
                      <a:cubicBezTo>
                        <a:pt x="111210" y="893816"/>
                        <a:pt x="111210" y="893816"/>
                        <a:pt x="140963" y="927350"/>
                      </a:cubicBezTo>
                      <a:cubicBezTo>
                        <a:pt x="140963" y="927350"/>
                        <a:pt x="140963" y="927350"/>
                        <a:pt x="57372" y="927350"/>
                      </a:cubicBezTo>
                      <a:cubicBezTo>
                        <a:pt x="50996" y="927350"/>
                        <a:pt x="46037" y="932344"/>
                        <a:pt x="46037" y="938766"/>
                      </a:cubicBezTo>
                      <a:cubicBezTo>
                        <a:pt x="46037" y="945187"/>
                        <a:pt x="50996" y="950181"/>
                        <a:pt x="57372" y="950181"/>
                      </a:cubicBezTo>
                      <a:cubicBezTo>
                        <a:pt x="57372" y="950181"/>
                        <a:pt x="57372" y="950181"/>
                        <a:pt x="140255" y="950181"/>
                      </a:cubicBezTo>
                      <a:cubicBezTo>
                        <a:pt x="140255" y="950181"/>
                        <a:pt x="140255" y="950181"/>
                        <a:pt x="111210" y="980861"/>
                      </a:cubicBezTo>
                      <a:cubicBezTo>
                        <a:pt x="106960" y="985142"/>
                        <a:pt x="106960" y="992990"/>
                        <a:pt x="111919" y="997271"/>
                      </a:cubicBezTo>
                      <a:cubicBezTo>
                        <a:pt x="114044" y="999412"/>
                        <a:pt x="116878" y="1000125"/>
                        <a:pt x="119711" y="1000125"/>
                      </a:cubicBezTo>
                      <a:cubicBezTo>
                        <a:pt x="122545" y="1000125"/>
                        <a:pt x="125378" y="998698"/>
                        <a:pt x="128212" y="996558"/>
                      </a:cubicBezTo>
                      <a:cubicBezTo>
                        <a:pt x="128212" y="996558"/>
                        <a:pt x="128212" y="996558"/>
                        <a:pt x="174258" y="946614"/>
                      </a:cubicBezTo>
                      <a:cubicBezTo>
                        <a:pt x="174967" y="946614"/>
                        <a:pt x="174967" y="946614"/>
                        <a:pt x="174967" y="946614"/>
                      </a:cubicBezTo>
                      <a:cubicBezTo>
                        <a:pt x="174967" y="945900"/>
                        <a:pt x="175675" y="945900"/>
                        <a:pt x="175675" y="945187"/>
                      </a:cubicBezTo>
                      <a:cubicBezTo>
                        <a:pt x="175675" y="945187"/>
                        <a:pt x="175675" y="945187"/>
                        <a:pt x="176383" y="944473"/>
                      </a:cubicBezTo>
                      <a:cubicBezTo>
                        <a:pt x="176383" y="944473"/>
                        <a:pt x="176383" y="944473"/>
                        <a:pt x="176383" y="943760"/>
                      </a:cubicBezTo>
                      <a:cubicBezTo>
                        <a:pt x="177092" y="943760"/>
                        <a:pt x="177092" y="943046"/>
                        <a:pt x="177092" y="943046"/>
                      </a:cubicBezTo>
                      <a:cubicBezTo>
                        <a:pt x="177092" y="943046"/>
                        <a:pt x="177092" y="943046"/>
                        <a:pt x="177092" y="942333"/>
                      </a:cubicBezTo>
                      <a:cubicBezTo>
                        <a:pt x="177092" y="942333"/>
                        <a:pt x="177092" y="941620"/>
                        <a:pt x="177092" y="940906"/>
                      </a:cubicBezTo>
                      <a:cubicBezTo>
                        <a:pt x="177800" y="940906"/>
                        <a:pt x="177800" y="940906"/>
                        <a:pt x="177800" y="940906"/>
                      </a:cubicBezTo>
                      <a:cubicBezTo>
                        <a:pt x="177800" y="940193"/>
                        <a:pt x="177800" y="939479"/>
                        <a:pt x="177800" y="938766"/>
                      </a:cubicBezTo>
                      <a:cubicBezTo>
                        <a:pt x="177800" y="938766"/>
                        <a:pt x="177800" y="938766"/>
                        <a:pt x="177800" y="938052"/>
                      </a:cubicBezTo>
                      <a:cubicBezTo>
                        <a:pt x="177800" y="938052"/>
                        <a:pt x="177800" y="937339"/>
                        <a:pt x="177800" y="936625"/>
                      </a:cubicBezTo>
                      <a:cubicBezTo>
                        <a:pt x="177092" y="936625"/>
                        <a:pt x="177092" y="936625"/>
                        <a:pt x="177092" y="935912"/>
                      </a:cubicBezTo>
                      <a:cubicBezTo>
                        <a:pt x="177092" y="935912"/>
                        <a:pt x="177092" y="935198"/>
                        <a:pt x="177092" y="934485"/>
                      </a:cubicBezTo>
                      <a:cubicBezTo>
                        <a:pt x="177092" y="934485"/>
                        <a:pt x="177092" y="934485"/>
                        <a:pt x="176383" y="934485"/>
                      </a:cubicBezTo>
                      <a:cubicBezTo>
                        <a:pt x="176383" y="933771"/>
                        <a:pt x="176383" y="933058"/>
                        <a:pt x="175675" y="932344"/>
                      </a:cubicBezTo>
                      <a:cubicBezTo>
                        <a:pt x="174967" y="931631"/>
                        <a:pt x="174967" y="931631"/>
                        <a:pt x="174967" y="930917"/>
                      </a:cubicBezTo>
                      <a:cubicBezTo>
                        <a:pt x="174967" y="930917"/>
                        <a:pt x="174967" y="930917"/>
                        <a:pt x="128212" y="878120"/>
                      </a:cubicBezTo>
                      <a:cubicBezTo>
                        <a:pt x="123962" y="873839"/>
                        <a:pt x="116878" y="873125"/>
                        <a:pt x="111919" y="877406"/>
                      </a:cubicBezTo>
                      <a:close/>
                      <a:moveTo>
                        <a:pt x="1146614" y="825500"/>
                      </a:moveTo>
                      <a:cubicBezTo>
                        <a:pt x="1165062" y="825500"/>
                        <a:pt x="1182800" y="829788"/>
                        <a:pt x="1197700" y="838363"/>
                      </a:cubicBezTo>
                      <a:cubicBezTo>
                        <a:pt x="1207633" y="843366"/>
                        <a:pt x="1216857" y="849798"/>
                        <a:pt x="1224662" y="857658"/>
                      </a:cubicBezTo>
                      <a:cubicBezTo>
                        <a:pt x="1245238" y="878383"/>
                        <a:pt x="1257300" y="906253"/>
                        <a:pt x="1257300" y="936982"/>
                      </a:cubicBezTo>
                      <a:cubicBezTo>
                        <a:pt x="1257300" y="997726"/>
                        <a:pt x="1207633" y="1047750"/>
                        <a:pt x="1146614" y="1047750"/>
                      </a:cubicBezTo>
                      <a:cubicBezTo>
                        <a:pt x="1086304" y="1047750"/>
                        <a:pt x="1036637" y="997726"/>
                        <a:pt x="1036637" y="936268"/>
                      </a:cubicBezTo>
                      <a:cubicBezTo>
                        <a:pt x="1036637" y="874810"/>
                        <a:pt x="1086304" y="825500"/>
                        <a:pt x="1146614" y="825500"/>
                      </a:cubicBezTo>
                      <a:close/>
                      <a:moveTo>
                        <a:pt x="111919" y="825500"/>
                      </a:moveTo>
                      <a:cubicBezTo>
                        <a:pt x="173618" y="825500"/>
                        <a:pt x="223838" y="875560"/>
                        <a:pt x="223838" y="937777"/>
                      </a:cubicBezTo>
                      <a:cubicBezTo>
                        <a:pt x="223838" y="974249"/>
                        <a:pt x="205903" y="1006430"/>
                        <a:pt x="179358" y="1026454"/>
                      </a:cubicBezTo>
                      <a:cubicBezTo>
                        <a:pt x="170748" y="1032890"/>
                        <a:pt x="161422" y="1037896"/>
                        <a:pt x="151378" y="1042187"/>
                      </a:cubicBezTo>
                      <a:cubicBezTo>
                        <a:pt x="139182" y="1046478"/>
                        <a:pt x="125550" y="1049338"/>
                        <a:pt x="111919" y="1049338"/>
                      </a:cubicBezTo>
                      <a:cubicBezTo>
                        <a:pt x="50220" y="1049338"/>
                        <a:pt x="0" y="999279"/>
                        <a:pt x="0" y="937062"/>
                      </a:cubicBezTo>
                      <a:cubicBezTo>
                        <a:pt x="0" y="874845"/>
                        <a:pt x="50220" y="825500"/>
                        <a:pt x="111919" y="825500"/>
                      </a:cubicBezTo>
                      <a:close/>
                      <a:moveTo>
                        <a:pt x="582076" y="64618"/>
                      </a:moveTo>
                      <a:cubicBezTo>
                        <a:pt x="577850" y="69627"/>
                        <a:pt x="577850" y="76781"/>
                        <a:pt x="582076" y="81074"/>
                      </a:cubicBezTo>
                      <a:cubicBezTo>
                        <a:pt x="582076" y="81074"/>
                        <a:pt x="582076" y="81074"/>
                        <a:pt x="590528" y="89660"/>
                      </a:cubicBezTo>
                      <a:cubicBezTo>
                        <a:pt x="590528" y="89660"/>
                        <a:pt x="590528" y="89660"/>
                        <a:pt x="611657" y="111841"/>
                      </a:cubicBezTo>
                      <a:cubicBezTo>
                        <a:pt x="611657" y="111841"/>
                        <a:pt x="611657" y="111841"/>
                        <a:pt x="603206" y="120427"/>
                      </a:cubicBezTo>
                      <a:cubicBezTo>
                        <a:pt x="603206" y="120427"/>
                        <a:pt x="603206" y="120427"/>
                        <a:pt x="582076" y="142607"/>
                      </a:cubicBezTo>
                      <a:cubicBezTo>
                        <a:pt x="577850" y="146900"/>
                        <a:pt x="577850" y="154055"/>
                        <a:pt x="582076" y="159063"/>
                      </a:cubicBezTo>
                      <a:cubicBezTo>
                        <a:pt x="584189" y="161210"/>
                        <a:pt x="587006" y="161925"/>
                        <a:pt x="589824" y="161925"/>
                      </a:cubicBezTo>
                      <a:cubicBezTo>
                        <a:pt x="592641" y="161925"/>
                        <a:pt x="595458" y="161210"/>
                        <a:pt x="598275" y="159063"/>
                      </a:cubicBezTo>
                      <a:cubicBezTo>
                        <a:pt x="598275" y="159063"/>
                        <a:pt x="598275" y="159063"/>
                        <a:pt x="627857" y="128297"/>
                      </a:cubicBezTo>
                      <a:cubicBezTo>
                        <a:pt x="627857" y="128297"/>
                        <a:pt x="627857" y="128297"/>
                        <a:pt x="657438" y="159063"/>
                      </a:cubicBezTo>
                      <a:cubicBezTo>
                        <a:pt x="660255" y="161210"/>
                        <a:pt x="663073" y="161925"/>
                        <a:pt x="665890" y="161925"/>
                      </a:cubicBezTo>
                      <a:cubicBezTo>
                        <a:pt x="668707" y="161925"/>
                        <a:pt x="671524" y="161210"/>
                        <a:pt x="673637" y="159063"/>
                      </a:cubicBezTo>
                      <a:cubicBezTo>
                        <a:pt x="677863" y="154055"/>
                        <a:pt x="677863" y="146900"/>
                        <a:pt x="673637" y="142607"/>
                      </a:cubicBezTo>
                      <a:cubicBezTo>
                        <a:pt x="673637" y="142607"/>
                        <a:pt x="673637" y="142607"/>
                        <a:pt x="644056" y="111841"/>
                      </a:cubicBezTo>
                      <a:cubicBezTo>
                        <a:pt x="644056" y="111841"/>
                        <a:pt x="644056" y="111841"/>
                        <a:pt x="673637" y="81074"/>
                      </a:cubicBezTo>
                      <a:cubicBezTo>
                        <a:pt x="677863" y="76781"/>
                        <a:pt x="677863" y="69627"/>
                        <a:pt x="673637" y="64618"/>
                      </a:cubicBezTo>
                      <a:cubicBezTo>
                        <a:pt x="669411" y="60325"/>
                        <a:pt x="662368" y="60325"/>
                        <a:pt x="657438" y="64618"/>
                      </a:cubicBezTo>
                      <a:cubicBezTo>
                        <a:pt x="657438" y="64618"/>
                        <a:pt x="657438" y="64618"/>
                        <a:pt x="627857" y="95384"/>
                      </a:cubicBezTo>
                      <a:cubicBezTo>
                        <a:pt x="627857" y="95384"/>
                        <a:pt x="627857" y="95384"/>
                        <a:pt x="598275" y="64618"/>
                      </a:cubicBezTo>
                      <a:cubicBezTo>
                        <a:pt x="593345" y="60325"/>
                        <a:pt x="586302" y="60325"/>
                        <a:pt x="582076" y="64618"/>
                      </a:cubicBezTo>
                      <a:close/>
                      <a:moveTo>
                        <a:pt x="627856" y="0"/>
                      </a:moveTo>
                      <a:cubicBezTo>
                        <a:pt x="689875" y="0"/>
                        <a:pt x="739775" y="50060"/>
                        <a:pt x="739775" y="111562"/>
                      </a:cubicBezTo>
                      <a:cubicBezTo>
                        <a:pt x="739775" y="173779"/>
                        <a:pt x="689875" y="223838"/>
                        <a:pt x="627856" y="223838"/>
                      </a:cubicBezTo>
                      <a:cubicBezTo>
                        <a:pt x="573679" y="223123"/>
                        <a:pt x="527343" y="184506"/>
                        <a:pt x="518076" y="133016"/>
                      </a:cubicBezTo>
                      <a:cubicBezTo>
                        <a:pt x="516650" y="125149"/>
                        <a:pt x="515937" y="117998"/>
                        <a:pt x="515937" y="110846"/>
                      </a:cubicBezTo>
                      <a:cubicBezTo>
                        <a:pt x="515937" y="107271"/>
                        <a:pt x="515937" y="103695"/>
                        <a:pt x="516650" y="100119"/>
                      </a:cubicBezTo>
                      <a:cubicBezTo>
                        <a:pt x="521640" y="43624"/>
                        <a:pt x="570115" y="0"/>
                        <a:pt x="627856" y="0"/>
                      </a:cubicBezTo>
                      <a:close/>
                    </a:path>
                  </a:pathLst>
                </a:custGeom>
                <a:solidFill>
                  <a:srgbClr val="0A377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5" name="Group 4"/>
          <p:cNvGrpSpPr/>
          <p:nvPr/>
        </p:nvGrpSpPr>
        <p:grpSpPr>
          <a:xfrm>
            <a:off x="4222207" y="5065629"/>
            <a:ext cx="763571" cy="763571"/>
            <a:chOff x="4222208" y="4803241"/>
            <a:chExt cx="763571" cy="763571"/>
          </a:xfrm>
        </p:grpSpPr>
        <p:sp>
          <p:nvSpPr>
            <p:cNvPr id="24" name="Oval 23"/>
            <p:cNvSpPr/>
            <p:nvPr/>
          </p:nvSpPr>
          <p:spPr>
            <a:xfrm>
              <a:off x="4222208" y="4803241"/>
              <a:ext cx="763571" cy="763571"/>
            </a:xfrm>
            <a:prstGeom prst="ellipse">
              <a:avLst/>
            </a:prstGeom>
            <a:grpFill/>
            <a:ln w="19050" cap="flat" cmpd="sng" algn="ctr">
              <a:gradFill flip="none" rotWithShape="1">
                <a:gsLst>
                  <a:gs pos="0">
                    <a:srgbClr val="051934"/>
                  </a:gs>
                  <a:gs pos="100000">
                    <a:srgbClr val="0A3774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2" name="Group 41"/>
            <p:cNvGrpSpPr>
              <a:grpSpLocks noChangeAspect="1"/>
            </p:cNvGrpSpPr>
            <p:nvPr/>
          </p:nvGrpSpPr>
          <p:grpSpPr>
            <a:xfrm>
              <a:off x="4341606" y="4922638"/>
              <a:ext cx="524776" cy="524776"/>
              <a:chOff x="5273675" y="2606675"/>
              <a:chExt cx="1644650" cy="1644650"/>
            </a:xfrm>
          </p:grpSpPr>
          <p:sp>
            <p:nvSpPr>
              <p:cNvPr id="4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4" name="Group 43"/>
              <p:cNvGrpSpPr/>
              <p:nvPr/>
            </p:nvGrpSpPr>
            <p:grpSpPr>
              <a:xfrm>
                <a:off x="5444599" y="3152775"/>
                <a:ext cx="1302803" cy="552451"/>
                <a:chOff x="5445125" y="3152775"/>
                <a:chExt cx="1302803" cy="552451"/>
              </a:xfrm>
            </p:grpSpPr>
            <p:sp>
              <p:nvSpPr>
                <p:cNvPr id="45" name="Freeform 44"/>
                <p:cNvSpPr>
                  <a:spLocks/>
                </p:cNvSpPr>
                <p:nvPr/>
              </p:nvSpPr>
              <p:spPr bwMode="auto">
                <a:xfrm>
                  <a:off x="5858175" y="3152775"/>
                  <a:ext cx="470652" cy="550863"/>
                </a:xfrm>
                <a:custGeom>
                  <a:avLst/>
                  <a:gdLst>
                    <a:gd name="connsiteX0" fmla="*/ 153002 w 470652"/>
                    <a:gd name="connsiteY0" fmla="*/ 388952 h 550863"/>
                    <a:gd name="connsiteX1" fmla="*/ 141936 w 470652"/>
                    <a:gd name="connsiteY1" fmla="*/ 393758 h 550863"/>
                    <a:gd name="connsiteX2" fmla="*/ 141936 w 470652"/>
                    <a:gd name="connsiteY2" fmla="*/ 415117 h 550863"/>
                    <a:gd name="connsiteX3" fmla="*/ 174776 w 470652"/>
                    <a:gd name="connsiteY3" fmla="*/ 447868 h 550863"/>
                    <a:gd name="connsiteX4" fmla="*/ 141936 w 470652"/>
                    <a:gd name="connsiteY4" fmla="*/ 479194 h 550863"/>
                    <a:gd name="connsiteX5" fmla="*/ 141936 w 470652"/>
                    <a:gd name="connsiteY5" fmla="*/ 499841 h 550863"/>
                    <a:gd name="connsiteX6" fmla="*/ 153359 w 470652"/>
                    <a:gd name="connsiteY6" fmla="*/ 504825 h 550863"/>
                    <a:gd name="connsiteX7" fmla="*/ 164068 w 470652"/>
                    <a:gd name="connsiteY7" fmla="*/ 499841 h 550863"/>
                    <a:gd name="connsiteX8" fmla="*/ 196907 w 470652"/>
                    <a:gd name="connsiteY8" fmla="*/ 469227 h 550863"/>
                    <a:gd name="connsiteX9" fmla="*/ 229033 w 470652"/>
                    <a:gd name="connsiteY9" fmla="*/ 499841 h 550863"/>
                    <a:gd name="connsiteX10" fmla="*/ 239742 w 470652"/>
                    <a:gd name="connsiteY10" fmla="*/ 504825 h 550863"/>
                    <a:gd name="connsiteX11" fmla="*/ 250450 w 470652"/>
                    <a:gd name="connsiteY11" fmla="*/ 499841 h 550863"/>
                    <a:gd name="connsiteX12" fmla="*/ 250450 w 470652"/>
                    <a:gd name="connsiteY12" fmla="*/ 479194 h 550863"/>
                    <a:gd name="connsiteX13" fmla="*/ 218324 w 470652"/>
                    <a:gd name="connsiteY13" fmla="*/ 447868 h 550863"/>
                    <a:gd name="connsiteX14" fmla="*/ 250450 w 470652"/>
                    <a:gd name="connsiteY14" fmla="*/ 415117 h 550863"/>
                    <a:gd name="connsiteX15" fmla="*/ 250450 w 470652"/>
                    <a:gd name="connsiteY15" fmla="*/ 393758 h 550863"/>
                    <a:gd name="connsiteX16" fmla="*/ 229033 w 470652"/>
                    <a:gd name="connsiteY16" fmla="*/ 393758 h 550863"/>
                    <a:gd name="connsiteX17" fmla="*/ 196907 w 470652"/>
                    <a:gd name="connsiteY17" fmla="*/ 425796 h 550863"/>
                    <a:gd name="connsiteX18" fmla="*/ 164068 w 470652"/>
                    <a:gd name="connsiteY18" fmla="*/ 393758 h 550863"/>
                    <a:gd name="connsiteX19" fmla="*/ 153002 w 470652"/>
                    <a:gd name="connsiteY19" fmla="*/ 388952 h 550863"/>
                    <a:gd name="connsiteX20" fmla="*/ 196909 w 470652"/>
                    <a:gd name="connsiteY20" fmla="*/ 342900 h 550863"/>
                    <a:gd name="connsiteX21" fmla="*/ 302913 w 470652"/>
                    <a:gd name="connsiteY21" fmla="*/ 447594 h 550863"/>
                    <a:gd name="connsiteX22" fmla="*/ 196909 w 470652"/>
                    <a:gd name="connsiteY22" fmla="*/ 550863 h 550863"/>
                    <a:gd name="connsiteX23" fmla="*/ 90188 w 470652"/>
                    <a:gd name="connsiteY23" fmla="*/ 447594 h 550863"/>
                    <a:gd name="connsiteX24" fmla="*/ 196909 w 470652"/>
                    <a:gd name="connsiteY24" fmla="*/ 342900 h 550863"/>
                    <a:gd name="connsiteX25" fmla="*/ 17225 w 470652"/>
                    <a:gd name="connsiteY25" fmla="*/ 0 h 550863"/>
                    <a:gd name="connsiteX26" fmla="*/ 361980 w 470652"/>
                    <a:gd name="connsiteY26" fmla="*/ 0 h 550863"/>
                    <a:gd name="connsiteX27" fmla="*/ 377683 w 470652"/>
                    <a:gd name="connsiteY27" fmla="*/ 9278 h 550863"/>
                    <a:gd name="connsiteX28" fmla="*/ 469047 w 470652"/>
                    <a:gd name="connsiteY28" fmla="*/ 194833 h 550863"/>
                    <a:gd name="connsiteX29" fmla="*/ 469047 w 470652"/>
                    <a:gd name="connsiteY29" fmla="*/ 207679 h 550863"/>
                    <a:gd name="connsiteX30" fmla="*/ 377683 w 470652"/>
                    <a:gd name="connsiteY30" fmla="*/ 394661 h 550863"/>
                    <a:gd name="connsiteX31" fmla="*/ 361980 w 470652"/>
                    <a:gd name="connsiteY31" fmla="*/ 403225 h 550863"/>
                    <a:gd name="connsiteX32" fmla="*/ 325577 w 470652"/>
                    <a:gd name="connsiteY32" fmla="*/ 403225 h 550863"/>
                    <a:gd name="connsiteX33" fmla="*/ 197097 w 470652"/>
                    <a:gd name="connsiteY33" fmla="*/ 311161 h 550863"/>
                    <a:gd name="connsiteX34" fmla="*/ 69331 w 470652"/>
                    <a:gd name="connsiteY34" fmla="*/ 403225 h 550863"/>
                    <a:gd name="connsiteX35" fmla="*/ 17225 w 470652"/>
                    <a:gd name="connsiteY35" fmla="*/ 403225 h 550863"/>
                    <a:gd name="connsiteX36" fmla="*/ 1522 w 470652"/>
                    <a:gd name="connsiteY36" fmla="*/ 380388 h 550863"/>
                    <a:gd name="connsiteX37" fmla="*/ 87175 w 470652"/>
                    <a:gd name="connsiteY37" fmla="*/ 207679 h 550863"/>
                    <a:gd name="connsiteX38" fmla="*/ 87175 w 470652"/>
                    <a:gd name="connsiteY38" fmla="*/ 194833 h 550863"/>
                    <a:gd name="connsiteX39" fmla="*/ 1522 w 470652"/>
                    <a:gd name="connsiteY39" fmla="*/ 22838 h 550863"/>
                    <a:gd name="connsiteX40" fmla="*/ 17225 w 470652"/>
                    <a:gd name="connsiteY40" fmla="*/ 0 h 550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470652" h="550863">
                      <a:moveTo>
                        <a:pt x="153002" y="388952"/>
                      </a:moveTo>
                      <a:cubicBezTo>
                        <a:pt x="148897" y="388952"/>
                        <a:pt x="144792" y="390554"/>
                        <a:pt x="141936" y="393758"/>
                      </a:cubicBezTo>
                      <a:cubicBezTo>
                        <a:pt x="136225" y="398742"/>
                        <a:pt x="136225" y="408709"/>
                        <a:pt x="141936" y="415117"/>
                      </a:cubicBezTo>
                      <a:cubicBezTo>
                        <a:pt x="141936" y="415117"/>
                        <a:pt x="141936" y="415117"/>
                        <a:pt x="174776" y="447868"/>
                      </a:cubicBezTo>
                      <a:cubicBezTo>
                        <a:pt x="174776" y="447868"/>
                        <a:pt x="174776" y="447868"/>
                        <a:pt x="141936" y="479194"/>
                      </a:cubicBezTo>
                      <a:cubicBezTo>
                        <a:pt x="136225" y="485602"/>
                        <a:pt x="136225" y="494858"/>
                        <a:pt x="141936" y="499841"/>
                      </a:cubicBezTo>
                      <a:cubicBezTo>
                        <a:pt x="145506" y="503401"/>
                        <a:pt x="148362" y="504825"/>
                        <a:pt x="153359" y="504825"/>
                      </a:cubicBezTo>
                      <a:cubicBezTo>
                        <a:pt x="157642" y="504825"/>
                        <a:pt x="161212" y="503401"/>
                        <a:pt x="164068" y="499841"/>
                      </a:cubicBezTo>
                      <a:cubicBezTo>
                        <a:pt x="164068" y="499841"/>
                        <a:pt x="164068" y="499841"/>
                        <a:pt x="196907" y="469227"/>
                      </a:cubicBezTo>
                      <a:cubicBezTo>
                        <a:pt x="196907" y="469227"/>
                        <a:pt x="196907" y="469227"/>
                        <a:pt x="229033" y="499841"/>
                      </a:cubicBezTo>
                      <a:cubicBezTo>
                        <a:pt x="231889" y="503401"/>
                        <a:pt x="236172" y="504825"/>
                        <a:pt x="239742" y="504825"/>
                      </a:cubicBezTo>
                      <a:cubicBezTo>
                        <a:pt x="244025" y="504825"/>
                        <a:pt x="248308" y="503401"/>
                        <a:pt x="250450" y="499841"/>
                      </a:cubicBezTo>
                      <a:cubicBezTo>
                        <a:pt x="256875" y="494858"/>
                        <a:pt x="256875" y="485602"/>
                        <a:pt x="250450" y="479194"/>
                      </a:cubicBezTo>
                      <a:cubicBezTo>
                        <a:pt x="250450" y="479194"/>
                        <a:pt x="250450" y="479194"/>
                        <a:pt x="218324" y="447868"/>
                      </a:cubicBezTo>
                      <a:cubicBezTo>
                        <a:pt x="218324" y="447868"/>
                        <a:pt x="218324" y="447868"/>
                        <a:pt x="250450" y="415117"/>
                      </a:cubicBezTo>
                      <a:cubicBezTo>
                        <a:pt x="256875" y="408709"/>
                        <a:pt x="256875" y="398742"/>
                        <a:pt x="250450" y="393758"/>
                      </a:cubicBezTo>
                      <a:cubicBezTo>
                        <a:pt x="244739" y="387350"/>
                        <a:pt x="234744" y="387350"/>
                        <a:pt x="229033" y="393758"/>
                      </a:cubicBezTo>
                      <a:cubicBezTo>
                        <a:pt x="229033" y="393758"/>
                        <a:pt x="229033" y="393758"/>
                        <a:pt x="196907" y="425796"/>
                      </a:cubicBezTo>
                      <a:cubicBezTo>
                        <a:pt x="196907" y="425796"/>
                        <a:pt x="196907" y="425796"/>
                        <a:pt x="164068" y="393758"/>
                      </a:cubicBezTo>
                      <a:cubicBezTo>
                        <a:pt x="161212" y="390554"/>
                        <a:pt x="157107" y="388952"/>
                        <a:pt x="153002" y="388952"/>
                      </a:cubicBezTo>
                      <a:close/>
                      <a:moveTo>
                        <a:pt x="196909" y="342900"/>
                      </a:moveTo>
                      <a:cubicBezTo>
                        <a:pt x="254925" y="342900"/>
                        <a:pt x="302913" y="389193"/>
                        <a:pt x="302913" y="447594"/>
                      </a:cubicBezTo>
                      <a:cubicBezTo>
                        <a:pt x="302913" y="503858"/>
                        <a:pt x="254925" y="550863"/>
                        <a:pt x="196909" y="550863"/>
                      </a:cubicBezTo>
                      <a:cubicBezTo>
                        <a:pt x="137460" y="550863"/>
                        <a:pt x="90188" y="503858"/>
                        <a:pt x="90188" y="447594"/>
                      </a:cubicBezTo>
                      <a:cubicBezTo>
                        <a:pt x="90188" y="389193"/>
                        <a:pt x="137460" y="342900"/>
                        <a:pt x="196909" y="342900"/>
                      </a:cubicBezTo>
                      <a:close/>
                      <a:moveTo>
                        <a:pt x="17225" y="0"/>
                      </a:moveTo>
                      <a:cubicBezTo>
                        <a:pt x="17225" y="0"/>
                        <a:pt x="17225" y="0"/>
                        <a:pt x="361980" y="0"/>
                      </a:cubicBezTo>
                      <a:cubicBezTo>
                        <a:pt x="368404" y="0"/>
                        <a:pt x="374828" y="3568"/>
                        <a:pt x="377683" y="9278"/>
                      </a:cubicBezTo>
                      <a:cubicBezTo>
                        <a:pt x="377683" y="9278"/>
                        <a:pt x="377683" y="9278"/>
                        <a:pt x="469047" y="194833"/>
                      </a:cubicBezTo>
                      <a:cubicBezTo>
                        <a:pt x="471188" y="199115"/>
                        <a:pt x="471188" y="203397"/>
                        <a:pt x="469047" y="207679"/>
                      </a:cubicBezTo>
                      <a:cubicBezTo>
                        <a:pt x="469047" y="207679"/>
                        <a:pt x="469047" y="207679"/>
                        <a:pt x="377683" y="394661"/>
                      </a:cubicBezTo>
                      <a:cubicBezTo>
                        <a:pt x="374828" y="398943"/>
                        <a:pt x="368404" y="403225"/>
                        <a:pt x="361980" y="403225"/>
                      </a:cubicBezTo>
                      <a:cubicBezTo>
                        <a:pt x="361980" y="403225"/>
                        <a:pt x="361980" y="403225"/>
                        <a:pt x="325577" y="403225"/>
                      </a:cubicBezTo>
                      <a:cubicBezTo>
                        <a:pt x="307019" y="349700"/>
                        <a:pt x="256341" y="311161"/>
                        <a:pt x="197097" y="311161"/>
                      </a:cubicBezTo>
                      <a:cubicBezTo>
                        <a:pt x="137140" y="311161"/>
                        <a:pt x="87175" y="349700"/>
                        <a:pt x="69331" y="403225"/>
                      </a:cubicBezTo>
                      <a:cubicBezTo>
                        <a:pt x="69331" y="403225"/>
                        <a:pt x="69331" y="403225"/>
                        <a:pt x="17225" y="403225"/>
                      </a:cubicBezTo>
                      <a:cubicBezTo>
                        <a:pt x="4377" y="403225"/>
                        <a:pt x="-3475" y="391093"/>
                        <a:pt x="1522" y="380388"/>
                      </a:cubicBezTo>
                      <a:cubicBezTo>
                        <a:pt x="1522" y="380388"/>
                        <a:pt x="1522" y="380388"/>
                        <a:pt x="87175" y="207679"/>
                      </a:cubicBezTo>
                      <a:cubicBezTo>
                        <a:pt x="89317" y="203397"/>
                        <a:pt x="89317" y="199115"/>
                        <a:pt x="87175" y="194833"/>
                      </a:cubicBezTo>
                      <a:cubicBezTo>
                        <a:pt x="87175" y="194833"/>
                        <a:pt x="87175" y="194833"/>
                        <a:pt x="1522" y="22838"/>
                      </a:cubicBezTo>
                      <a:cubicBezTo>
                        <a:pt x="-3475" y="12133"/>
                        <a:pt x="4377" y="0"/>
                        <a:pt x="17225" y="0"/>
                      </a:cubicBezTo>
                      <a:close/>
                    </a:path>
                  </a:pathLst>
                </a:custGeom>
                <a:solidFill>
                  <a:srgbClr val="0A377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45"/>
                <p:cNvSpPr>
                  <a:spLocks noChangeArrowheads="1"/>
                </p:cNvSpPr>
                <p:nvPr/>
              </p:nvSpPr>
              <p:spPr bwMode="auto">
                <a:xfrm>
                  <a:off x="5445125" y="3152775"/>
                  <a:ext cx="1302803" cy="552451"/>
                </a:xfrm>
                <a:custGeom>
                  <a:avLst/>
                  <a:gdLst>
                    <a:gd name="connsiteX0" fmla="*/ 1086933 w 1302803"/>
                    <a:gd name="connsiteY0" fmla="*/ 406063 h 552451"/>
                    <a:gd name="connsiteX1" fmla="*/ 1076251 w 1302803"/>
                    <a:gd name="connsiteY1" fmla="*/ 409816 h 552451"/>
                    <a:gd name="connsiteX2" fmla="*/ 1008596 w 1302803"/>
                    <a:gd name="connsiteY2" fmla="*/ 477732 h 552451"/>
                    <a:gd name="connsiteX3" fmla="*/ 977974 w 1302803"/>
                    <a:gd name="connsiteY3" fmla="*/ 446991 h 552451"/>
                    <a:gd name="connsiteX4" fmla="*/ 956609 w 1302803"/>
                    <a:gd name="connsiteY4" fmla="*/ 446991 h 552451"/>
                    <a:gd name="connsiteX5" fmla="*/ 956609 w 1302803"/>
                    <a:gd name="connsiteY5" fmla="*/ 468438 h 552451"/>
                    <a:gd name="connsiteX6" fmla="*/ 995778 w 1302803"/>
                    <a:gd name="connsiteY6" fmla="*/ 507758 h 552451"/>
                    <a:gd name="connsiteX7" fmla="*/ 1000763 w 1302803"/>
                    <a:gd name="connsiteY7" fmla="*/ 510617 h 552451"/>
                    <a:gd name="connsiteX8" fmla="*/ 1009309 w 1302803"/>
                    <a:gd name="connsiteY8" fmla="*/ 512762 h 552451"/>
                    <a:gd name="connsiteX9" fmla="*/ 1019279 w 1302803"/>
                    <a:gd name="connsiteY9" fmla="*/ 509188 h 552451"/>
                    <a:gd name="connsiteX10" fmla="*/ 1097615 w 1302803"/>
                    <a:gd name="connsiteY10" fmla="*/ 431263 h 552451"/>
                    <a:gd name="connsiteX11" fmla="*/ 1097615 w 1302803"/>
                    <a:gd name="connsiteY11" fmla="*/ 409816 h 552451"/>
                    <a:gd name="connsiteX12" fmla="*/ 1086933 w 1302803"/>
                    <a:gd name="connsiteY12" fmla="*/ 406063 h 552451"/>
                    <a:gd name="connsiteX13" fmla="*/ 249702 w 1302803"/>
                    <a:gd name="connsiteY13" fmla="*/ 406063 h 552451"/>
                    <a:gd name="connsiteX14" fmla="*/ 238638 w 1302803"/>
                    <a:gd name="connsiteY14" fmla="*/ 409816 h 552451"/>
                    <a:gd name="connsiteX15" fmla="*/ 171718 w 1302803"/>
                    <a:gd name="connsiteY15" fmla="*/ 477732 h 552451"/>
                    <a:gd name="connsiteX16" fmla="*/ 140776 w 1302803"/>
                    <a:gd name="connsiteY16" fmla="*/ 446991 h 552451"/>
                    <a:gd name="connsiteX17" fmla="*/ 118470 w 1302803"/>
                    <a:gd name="connsiteY17" fmla="*/ 446991 h 552451"/>
                    <a:gd name="connsiteX18" fmla="*/ 118470 w 1302803"/>
                    <a:gd name="connsiteY18" fmla="*/ 468438 h 552451"/>
                    <a:gd name="connsiteX19" fmla="*/ 158046 w 1302803"/>
                    <a:gd name="connsiteY19" fmla="*/ 507758 h 552451"/>
                    <a:gd name="connsiteX20" fmla="*/ 163803 w 1302803"/>
                    <a:gd name="connsiteY20" fmla="*/ 510617 h 552451"/>
                    <a:gd name="connsiteX21" fmla="*/ 171718 w 1302803"/>
                    <a:gd name="connsiteY21" fmla="*/ 512762 h 552451"/>
                    <a:gd name="connsiteX22" fmla="*/ 182512 w 1302803"/>
                    <a:gd name="connsiteY22" fmla="*/ 509188 h 552451"/>
                    <a:gd name="connsiteX23" fmla="*/ 260225 w 1302803"/>
                    <a:gd name="connsiteY23" fmla="*/ 431263 h 552451"/>
                    <a:gd name="connsiteX24" fmla="*/ 260225 w 1302803"/>
                    <a:gd name="connsiteY24" fmla="*/ 409816 h 552451"/>
                    <a:gd name="connsiteX25" fmla="*/ 249702 w 1302803"/>
                    <a:gd name="connsiteY25" fmla="*/ 406063 h 552451"/>
                    <a:gd name="connsiteX26" fmla="*/ 1027112 w 1302803"/>
                    <a:gd name="connsiteY26" fmla="*/ 344487 h 552451"/>
                    <a:gd name="connsiteX27" fmla="*/ 1133475 w 1302803"/>
                    <a:gd name="connsiteY27" fmla="*/ 448469 h 552451"/>
                    <a:gd name="connsiteX28" fmla="*/ 1027112 w 1302803"/>
                    <a:gd name="connsiteY28" fmla="*/ 552451 h 552451"/>
                    <a:gd name="connsiteX29" fmla="*/ 920749 w 1302803"/>
                    <a:gd name="connsiteY29" fmla="*/ 448469 h 552451"/>
                    <a:gd name="connsiteX30" fmla="*/ 1027112 w 1302803"/>
                    <a:gd name="connsiteY30" fmla="*/ 344487 h 552451"/>
                    <a:gd name="connsiteX31" fmla="*/ 192882 w 1302803"/>
                    <a:gd name="connsiteY31" fmla="*/ 344487 h 552451"/>
                    <a:gd name="connsiteX32" fmla="*/ 298451 w 1302803"/>
                    <a:gd name="connsiteY32" fmla="*/ 448469 h 552451"/>
                    <a:gd name="connsiteX33" fmla="*/ 192882 w 1302803"/>
                    <a:gd name="connsiteY33" fmla="*/ 552451 h 552451"/>
                    <a:gd name="connsiteX34" fmla="*/ 87313 w 1302803"/>
                    <a:gd name="connsiteY34" fmla="*/ 448469 h 552451"/>
                    <a:gd name="connsiteX35" fmla="*/ 192882 w 1302803"/>
                    <a:gd name="connsiteY35" fmla="*/ 344487 h 552451"/>
                    <a:gd name="connsiteX36" fmla="*/ 848631 w 1302803"/>
                    <a:gd name="connsiteY36" fmla="*/ 0 h 552451"/>
                    <a:gd name="connsiteX37" fmla="*/ 1193581 w 1302803"/>
                    <a:gd name="connsiteY37" fmla="*/ 0 h 552451"/>
                    <a:gd name="connsiteX38" fmla="*/ 1208548 w 1302803"/>
                    <a:gd name="connsiteY38" fmla="*/ 9278 h 552451"/>
                    <a:gd name="connsiteX39" fmla="*/ 1301200 w 1302803"/>
                    <a:gd name="connsiteY39" fmla="*/ 194119 h 552451"/>
                    <a:gd name="connsiteX40" fmla="*/ 1301200 w 1302803"/>
                    <a:gd name="connsiteY40" fmla="*/ 207679 h 552451"/>
                    <a:gd name="connsiteX41" fmla="*/ 1208548 w 1302803"/>
                    <a:gd name="connsiteY41" fmla="*/ 393947 h 552451"/>
                    <a:gd name="connsiteX42" fmla="*/ 1193581 w 1302803"/>
                    <a:gd name="connsiteY42" fmla="*/ 403225 h 552451"/>
                    <a:gd name="connsiteX43" fmla="*/ 1155095 w 1302803"/>
                    <a:gd name="connsiteY43" fmla="*/ 403225 h 552451"/>
                    <a:gd name="connsiteX44" fmla="*/ 1027521 w 1302803"/>
                    <a:gd name="connsiteY44" fmla="*/ 312588 h 552451"/>
                    <a:gd name="connsiteX45" fmla="*/ 899233 w 1302803"/>
                    <a:gd name="connsiteY45" fmla="*/ 403225 h 552451"/>
                    <a:gd name="connsiteX46" fmla="*/ 848631 w 1302803"/>
                    <a:gd name="connsiteY46" fmla="*/ 403225 h 552451"/>
                    <a:gd name="connsiteX47" fmla="*/ 833664 w 1302803"/>
                    <a:gd name="connsiteY47" fmla="*/ 380388 h 552451"/>
                    <a:gd name="connsiteX48" fmla="*/ 919189 w 1302803"/>
                    <a:gd name="connsiteY48" fmla="*/ 207679 h 552451"/>
                    <a:gd name="connsiteX49" fmla="*/ 919189 w 1302803"/>
                    <a:gd name="connsiteY49" fmla="*/ 194119 h 552451"/>
                    <a:gd name="connsiteX50" fmla="*/ 833664 w 1302803"/>
                    <a:gd name="connsiteY50" fmla="*/ 22837 h 552451"/>
                    <a:gd name="connsiteX51" fmla="*/ 848631 w 1302803"/>
                    <a:gd name="connsiteY51" fmla="*/ 0 h 552451"/>
                    <a:gd name="connsiteX52" fmla="*/ 15719 w 1302803"/>
                    <a:gd name="connsiteY52" fmla="*/ 0 h 552451"/>
                    <a:gd name="connsiteX53" fmla="*/ 357249 w 1302803"/>
                    <a:gd name="connsiteY53" fmla="*/ 0 h 552451"/>
                    <a:gd name="connsiteX54" fmla="*/ 371539 w 1302803"/>
                    <a:gd name="connsiteY54" fmla="*/ 9278 h 552451"/>
                    <a:gd name="connsiteX55" fmla="*/ 462995 w 1302803"/>
                    <a:gd name="connsiteY55" fmla="*/ 194119 h 552451"/>
                    <a:gd name="connsiteX56" fmla="*/ 462995 w 1302803"/>
                    <a:gd name="connsiteY56" fmla="*/ 207679 h 552451"/>
                    <a:gd name="connsiteX57" fmla="*/ 371539 w 1302803"/>
                    <a:gd name="connsiteY57" fmla="*/ 393947 h 552451"/>
                    <a:gd name="connsiteX58" fmla="*/ 357249 w 1302803"/>
                    <a:gd name="connsiteY58" fmla="*/ 403225 h 552451"/>
                    <a:gd name="connsiteX59" fmla="*/ 320095 w 1302803"/>
                    <a:gd name="connsiteY59" fmla="*/ 403225 h 552451"/>
                    <a:gd name="connsiteX60" fmla="*/ 192915 w 1302803"/>
                    <a:gd name="connsiteY60" fmla="*/ 312588 h 552451"/>
                    <a:gd name="connsiteX61" fmla="*/ 65734 w 1302803"/>
                    <a:gd name="connsiteY61" fmla="*/ 403225 h 552451"/>
                    <a:gd name="connsiteX62" fmla="*/ 15719 w 1302803"/>
                    <a:gd name="connsiteY62" fmla="*/ 403225 h 552451"/>
                    <a:gd name="connsiteX63" fmla="*/ 0 w 1302803"/>
                    <a:gd name="connsiteY63" fmla="*/ 386811 h 552451"/>
                    <a:gd name="connsiteX64" fmla="*/ 0 w 1302803"/>
                    <a:gd name="connsiteY64" fmla="*/ 16414 h 552451"/>
                    <a:gd name="connsiteX65" fmla="*/ 15719 w 1302803"/>
                    <a:gd name="connsiteY65" fmla="*/ 0 h 552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302803" h="552451">
                      <a:moveTo>
                        <a:pt x="1086933" y="406063"/>
                      </a:moveTo>
                      <a:cubicBezTo>
                        <a:pt x="1083016" y="406063"/>
                        <a:pt x="1079099" y="407314"/>
                        <a:pt x="1076251" y="409816"/>
                      </a:cubicBezTo>
                      <a:cubicBezTo>
                        <a:pt x="1076251" y="409816"/>
                        <a:pt x="1076251" y="409816"/>
                        <a:pt x="1008596" y="477732"/>
                      </a:cubicBezTo>
                      <a:cubicBezTo>
                        <a:pt x="1008596" y="477732"/>
                        <a:pt x="1008596" y="477732"/>
                        <a:pt x="977974" y="446991"/>
                      </a:cubicBezTo>
                      <a:cubicBezTo>
                        <a:pt x="972277" y="440557"/>
                        <a:pt x="963019" y="440557"/>
                        <a:pt x="956609" y="446991"/>
                      </a:cubicBezTo>
                      <a:cubicBezTo>
                        <a:pt x="950912" y="453425"/>
                        <a:pt x="950912" y="462719"/>
                        <a:pt x="956609" y="468438"/>
                      </a:cubicBezTo>
                      <a:cubicBezTo>
                        <a:pt x="956609" y="468438"/>
                        <a:pt x="956609" y="468438"/>
                        <a:pt x="995778" y="507758"/>
                      </a:cubicBezTo>
                      <a:cubicBezTo>
                        <a:pt x="997202" y="509188"/>
                        <a:pt x="999338" y="509903"/>
                        <a:pt x="1000763" y="510617"/>
                      </a:cubicBezTo>
                      <a:cubicBezTo>
                        <a:pt x="1003611" y="512047"/>
                        <a:pt x="1006460" y="512762"/>
                        <a:pt x="1009309" y="512762"/>
                      </a:cubicBezTo>
                      <a:cubicBezTo>
                        <a:pt x="1013581" y="512762"/>
                        <a:pt x="1017142" y="511332"/>
                        <a:pt x="1019279" y="509188"/>
                      </a:cubicBezTo>
                      <a:cubicBezTo>
                        <a:pt x="1019279" y="509188"/>
                        <a:pt x="1019279" y="509188"/>
                        <a:pt x="1097615" y="431263"/>
                      </a:cubicBezTo>
                      <a:cubicBezTo>
                        <a:pt x="1103312" y="426259"/>
                        <a:pt x="1103312" y="416251"/>
                        <a:pt x="1097615" y="409816"/>
                      </a:cubicBezTo>
                      <a:cubicBezTo>
                        <a:pt x="1094767" y="407314"/>
                        <a:pt x="1090850" y="406063"/>
                        <a:pt x="1086933" y="406063"/>
                      </a:cubicBezTo>
                      <a:close/>
                      <a:moveTo>
                        <a:pt x="249702" y="406063"/>
                      </a:moveTo>
                      <a:cubicBezTo>
                        <a:pt x="245834" y="406063"/>
                        <a:pt x="241876" y="407314"/>
                        <a:pt x="238638" y="409816"/>
                      </a:cubicBezTo>
                      <a:cubicBezTo>
                        <a:pt x="238638" y="409816"/>
                        <a:pt x="238638" y="409816"/>
                        <a:pt x="171718" y="477732"/>
                      </a:cubicBezTo>
                      <a:cubicBezTo>
                        <a:pt x="171718" y="477732"/>
                        <a:pt x="171718" y="477732"/>
                        <a:pt x="140776" y="446991"/>
                      </a:cubicBezTo>
                      <a:cubicBezTo>
                        <a:pt x="134300" y="440557"/>
                        <a:pt x="124226" y="440557"/>
                        <a:pt x="118470" y="446991"/>
                      </a:cubicBezTo>
                      <a:cubicBezTo>
                        <a:pt x="112713" y="453425"/>
                        <a:pt x="112713" y="462719"/>
                        <a:pt x="118470" y="468438"/>
                      </a:cubicBezTo>
                      <a:cubicBezTo>
                        <a:pt x="118470" y="468438"/>
                        <a:pt x="118470" y="468438"/>
                        <a:pt x="158046" y="507758"/>
                      </a:cubicBezTo>
                      <a:cubicBezTo>
                        <a:pt x="160205" y="509188"/>
                        <a:pt x="161644" y="509903"/>
                        <a:pt x="163803" y="510617"/>
                      </a:cubicBezTo>
                      <a:cubicBezTo>
                        <a:pt x="165961" y="512047"/>
                        <a:pt x="168840" y="512762"/>
                        <a:pt x="171718" y="512762"/>
                      </a:cubicBezTo>
                      <a:cubicBezTo>
                        <a:pt x="175316" y="512762"/>
                        <a:pt x="179633" y="511332"/>
                        <a:pt x="182512" y="509188"/>
                      </a:cubicBezTo>
                      <a:cubicBezTo>
                        <a:pt x="182512" y="509188"/>
                        <a:pt x="182512" y="509188"/>
                        <a:pt x="260225" y="431263"/>
                      </a:cubicBezTo>
                      <a:cubicBezTo>
                        <a:pt x="266701" y="426259"/>
                        <a:pt x="266701" y="416251"/>
                        <a:pt x="260225" y="409816"/>
                      </a:cubicBezTo>
                      <a:cubicBezTo>
                        <a:pt x="257347" y="407314"/>
                        <a:pt x="253569" y="406063"/>
                        <a:pt x="249702" y="406063"/>
                      </a:cubicBezTo>
                      <a:close/>
                      <a:moveTo>
                        <a:pt x="1027112" y="344487"/>
                      </a:moveTo>
                      <a:cubicBezTo>
                        <a:pt x="1085855" y="344487"/>
                        <a:pt x="1133475" y="391041"/>
                        <a:pt x="1133475" y="448469"/>
                      </a:cubicBezTo>
                      <a:cubicBezTo>
                        <a:pt x="1133475" y="505897"/>
                        <a:pt x="1085855" y="552451"/>
                        <a:pt x="1027112" y="552451"/>
                      </a:cubicBezTo>
                      <a:cubicBezTo>
                        <a:pt x="968369" y="552451"/>
                        <a:pt x="920749" y="505897"/>
                        <a:pt x="920749" y="448469"/>
                      </a:cubicBezTo>
                      <a:cubicBezTo>
                        <a:pt x="920749" y="391041"/>
                        <a:pt x="968369" y="344487"/>
                        <a:pt x="1027112" y="344487"/>
                      </a:cubicBezTo>
                      <a:close/>
                      <a:moveTo>
                        <a:pt x="192882" y="344487"/>
                      </a:moveTo>
                      <a:cubicBezTo>
                        <a:pt x="251186" y="344487"/>
                        <a:pt x="298451" y="391041"/>
                        <a:pt x="298451" y="448469"/>
                      </a:cubicBezTo>
                      <a:cubicBezTo>
                        <a:pt x="298451" y="505897"/>
                        <a:pt x="251186" y="552451"/>
                        <a:pt x="192882" y="552451"/>
                      </a:cubicBezTo>
                      <a:cubicBezTo>
                        <a:pt x="134578" y="552451"/>
                        <a:pt x="87313" y="505897"/>
                        <a:pt x="87313" y="448469"/>
                      </a:cubicBezTo>
                      <a:cubicBezTo>
                        <a:pt x="87313" y="391041"/>
                        <a:pt x="134578" y="344487"/>
                        <a:pt x="192882" y="344487"/>
                      </a:cubicBezTo>
                      <a:close/>
                      <a:moveTo>
                        <a:pt x="848631" y="0"/>
                      </a:moveTo>
                      <a:cubicBezTo>
                        <a:pt x="848631" y="0"/>
                        <a:pt x="848631" y="0"/>
                        <a:pt x="1193581" y="0"/>
                      </a:cubicBezTo>
                      <a:cubicBezTo>
                        <a:pt x="1200708" y="0"/>
                        <a:pt x="1205697" y="3568"/>
                        <a:pt x="1208548" y="9278"/>
                      </a:cubicBezTo>
                      <a:cubicBezTo>
                        <a:pt x="1208548" y="9278"/>
                        <a:pt x="1208548" y="9278"/>
                        <a:pt x="1301200" y="194119"/>
                      </a:cubicBezTo>
                      <a:cubicBezTo>
                        <a:pt x="1303338" y="198401"/>
                        <a:pt x="1303338" y="203397"/>
                        <a:pt x="1301200" y="207679"/>
                      </a:cubicBezTo>
                      <a:cubicBezTo>
                        <a:pt x="1301200" y="207679"/>
                        <a:pt x="1301200" y="207679"/>
                        <a:pt x="1208548" y="393947"/>
                      </a:cubicBezTo>
                      <a:cubicBezTo>
                        <a:pt x="1205697" y="398943"/>
                        <a:pt x="1200708" y="403225"/>
                        <a:pt x="1193581" y="403225"/>
                      </a:cubicBezTo>
                      <a:cubicBezTo>
                        <a:pt x="1193581" y="403225"/>
                        <a:pt x="1193581" y="403225"/>
                        <a:pt x="1155095" y="403225"/>
                      </a:cubicBezTo>
                      <a:cubicBezTo>
                        <a:pt x="1136565" y="350413"/>
                        <a:pt x="1085963" y="312588"/>
                        <a:pt x="1027521" y="312588"/>
                      </a:cubicBezTo>
                      <a:cubicBezTo>
                        <a:pt x="968366" y="312588"/>
                        <a:pt x="917764" y="350413"/>
                        <a:pt x="899233" y="403225"/>
                      </a:cubicBezTo>
                      <a:cubicBezTo>
                        <a:pt x="899233" y="403225"/>
                        <a:pt x="899233" y="403225"/>
                        <a:pt x="848631" y="403225"/>
                      </a:cubicBezTo>
                      <a:cubicBezTo>
                        <a:pt x="835802" y="403225"/>
                        <a:pt x="828675" y="390379"/>
                        <a:pt x="833664" y="380388"/>
                      </a:cubicBezTo>
                      <a:cubicBezTo>
                        <a:pt x="833664" y="380388"/>
                        <a:pt x="833664" y="380388"/>
                        <a:pt x="919189" y="207679"/>
                      </a:cubicBezTo>
                      <a:cubicBezTo>
                        <a:pt x="921327" y="203397"/>
                        <a:pt x="921327" y="198401"/>
                        <a:pt x="919189" y="194119"/>
                      </a:cubicBezTo>
                      <a:cubicBezTo>
                        <a:pt x="919189" y="194119"/>
                        <a:pt x="919189" y="194119"/>
                        <a:pt x="833664" y="22837"/>
                      </a:cubicBezTo>
                      <a:cubicBezTo>
                        <a:pt x="828675" y="12132"/>
                        <a:pt x="835802" y="0"/>
                        <a:pt x="848631" y="0"/>
                      </a:cubicBezTo>
                      <a:close/>
                      <a:moveTo>
                        <a:pt x="15719" y="0"/>
                      </a:moveTo>
                      <a:cubicBezTo>
                        <a:pt x="15719" y="0"/>
                        <a:pt x="15719" y="0"/>
                        <a:pt x="357249" y="0"/>
                      </a:cubicBezTo>
                      <a:cubicBezTo>
                        <a:pt x="362965" y="0"/>
                        <a:pt x="368681" y="3568"/>
                        <a:pt x="371539" y="9278"/>
                      </a:cubicBezTo>
                      <a:cubicBezTo>
                        <a:pt x="371539" y="9278"/>
                        <a:pt x="371539" y="9278"/>
                        <a:pt x="462995" y="194119"/>
                      </a:cubicBezTo>
                      <a:cubicBezTo>
                        <a:pt x="465138" y="198401"/>
                        <a:pt x="465138" y="203397"/>
                        <a:pt x="462995" y="207679"/>
                      </a:cubicBezTo>
                      <a:cubicBezTo>
                        <a:pt x="462995" y="207679"/>
                        <a:pt x="462995" y="207679"/>
                        <a:pt x="371539" y="393947"/>
                      </a:cubicBezTo>
                      <a:cubicBezTo>
                        <a:pt x="369396" y="398943"/>
                        <a:pt x="362965" y="403225"/>
                        <a:pt x="357249" y="403225"/>
                      </a:cubicBezTo>
                      <a:cubicBezTo>
                        <a:pt x="357249" y="403225"/>
                        <a:pt x="357249" y="403225"/>
                        <a:pt x="320095" y="403225"/>
                      </a:cubicBezTo>
                      <a:cubicBezTo>
                        <a:pt x="301518" y="350413"/>
                        <a:pt x="252218" y="312588"/>
                        <a:pt x="192915" y="312588"/>
                      </a:cubicBezTo>
                      <a:cubicBezTo>
                        <a:pt x="133611" y="312588"/>
                        <a:pt x="84310" y="350413"/>
                        <a:pt x="65734" y="403225"/>
                      </a:cubicBezTo>
                      <a:cubicBezTo>
                        <a:pt x="65734" y="403225"/>
                        <a:pt x="65734" y="403225"/>
                        <a:pt x="15719" y="403225"/>
                      </a:cubicBezTo>
                      <a:cubicBezTo>
                        <a:pt x="7145" y="403225"/>
                        <a:pt x="0" y="395375"/>
                        <a:pt x="0" y="386811"/>
                      </a:cubicBezTo>
                      <a:cubicBezTo>
                        <a:pt x="0" y="386811"/>
                        <a:pt x="0" y="386811"/>
                        <a:pt x="0" y="16414"/>
                      </a:cubicBezTo>
                      <a:cubicBezTo>
                        <a:pt x="0" y="7137"/>
                        <a:pt x="7145" y="0"/>
                        <a:pt x="15719" y="0"/>
                      </a:cubicBezTo>
                      <a:close/>
                    </a:path>
                  </a:pathLst>
                </a:custGeom>
                <a:solidFill>
                  <a:srgbClr val="05193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923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6F681F65-9A6D-6548-8D0B-FA2D31C9A968}"/>
              </a:ext>
            </a:extLst>
          </p:cNvPr>
          <p:cNvSpPr/>
          <p:nvPr/>
        </p:nvSpPr>
        <p:spPr>
          <a:xfrm>
            <a:off x="79499" y="5087219"/>
            <a:ext cx="12112501" cy="171528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chemeClr val="bg1"/>
              </a:solidFill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CC94CE1-EBEC-334E-9D5A-98103492A7AF}"/>
              </a:ext>
            </a:extLst>
          </p:cNvPr>
          <p:cNvGrpSpPr/>
          <p:nvPr/>
        </p:nvGrpSpPr>
        <p:grpSpPr>
          <a:xfrm>
            <a:off x="4959313" y="251559"/>
            <a:ext cx="7232688" cy="6606440"/>
            <a:chOff x="8361736" y="3883563"/>
            <a:chExt cx="2217733" cy="2025709"/>
          </a:xfrm>
        </p:grpSpPr>
        <p:pic>
          <p:nvPicPr>
            <p:cNvPr id="47" name="Picture 46" descr="A close up of a logo&#10;&#10;Description automatically generated">
              <a:extLst>
                <a:ext uri="{FF2B5EF4-FFF2-40B4-BE49-F238E27FC236}">
                  <a16:creationId xmlns:a16="http://schemas.microsoft.com/office/drawing/2014/main" id="{ADE05E1A-0834-5D46-9753-9246B472EB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duotone>
                <a:srgbClr val="FFC000">
                  <a:shade val="45000"/>
                  <a:satMod val="135000"/>
                </a:srgbClr>
                <a:prstClr val="white"/>
              </a:duotone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628" r="23124" b="24296"/>
            <a:stretch/>
          </p:blipFill>
          <p:spPr>
            <a:xfrm>
              <a:off x="8452185" y="3883563"/>
              <a:ext cx="2127284" cy="2025709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FA22BA2-1CB1-104D-9622-2C834377A4B8}"/>
                </a:ext>
              </a:extLst>
            </p:cNvPr>
            <p:cNvSpPr/>
            <p:nvPr/>
          </p:nvSpPr>
          <p:spPr>
            <a:xfrm>
              <a:off x="8361736" y="3929053"/>
              <a:ext cx="2217733" cy="1980219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5338F9D-8CAF-7E41-AF6D-107004100B20}"/>
              </a:ext>
            </a:extLst>
          </p:cNvPr>
          <p:cNvSpPr txBox="1"/>
          <p:nvPr/>
        </p:nvSpPr>
        <p:spPr>
          <a:xfrm>
            <a:off x="8125345" y="881052"/>
            <a:ext cx="1332855" cy="13632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0" b="1" dirty="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771429-B1A9-404A-93FA-A068C323D407}"/>
              </a:ext>
            </a:extLst>
          </p:cNvPr>
          <p:cNvSpPr txBox="1"/>
          <p:nvPr/>
        </p:nvSpPr>
        <p:spPr>
          <a:xfrm>
            <a:off x="10366474" y="881052"/>
            <a:ext cx="1332855" cy="13632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0" b="1" dirty="0">
                <a:solidFill>
                  <a:schemeClr val="accent3"/>
                </a:solidFill>
              </a:rPr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FFDA2A-05AB-0A40-84D0-53D7B14C766B}"/>
              </a:ext>
            </a:extLst>
          </p:cNvPr>
          <p:cNvSpPr txBox="1"/>
          <p:nvPr/>
        </p:nvSpPr>
        <p:spPr>
          <a:xfrm>
            <a:off x="1144930" y="881052"/>
            <a:ext cx="1332855" cy="13632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0" b="1" dirty="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03AFAF3-DB8F-5649-A300-57926878EAB3}"/>
              </a:ext>
            </a:extLst>
          </p:cNvPr>
          <p:cNvSpPr txBox="1"/>
          <p:nvPr/>
        </p:nvSpPr>
        <p:spPr>
          <a:xfrm>
            <a:off x="3654909" y="881052"/>
            <a:ext cx="1332855" cy="13632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0" b="1" dirty="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E78B4C-7935-C345-8689-B9906FDF77D8}"/>
              </a:ext>
            </a:extLst>
          </p:cNvPr>
          <p:cNvSpPr txBox="1"/>
          <p:nvPr/>
        </p:nvSpPr>
        <p:spPr>
          <a:xfrm>
            <a:off x="5840658" y="881052"/>
            <a:ext cx="1332855" cy="13632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0" b="1" dirty="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108E3C-1450-DB49-A3EA-052A326F78EF}"/>
              </a:ext>
            </a:extLst>
          </p:cNvPr>
          <p:cNvSpPr/>
          <p:nvPr/>
        </p:nvSpPr>
        <p:spPr>
          <a:xfrm>
            <a:off x="0" y="2000675"/>
            <a:ext cx="12192000" cy="356647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B2214D-68D4-D14E-9BEE-DF8DD80D7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723" y="436650"/>
            <a:ext cx="11615045" cy="443198"/>
          </a:xfrm>
        </p:spPr>
        <p:txBody>
          <a:bodyPr/>
          <a:lstStyle/>
          <a:p>
            <a:r>
              <a:rPr lang="es-PE" sz="3200" b="1" dirty="0">
                <a:solidFill>
                  <a:schemeClr val="accent3"/>
                </a:solidFill>
              </a:rPr>
              <a:t>Fases de vacunación en Kansas</a:t>
            </a:r>
            <a:r>
              <a:rPr lang="en-US" sz="3200" b="1" dirty="0">
                <a:solidFill>
                  <a:schemeClr val="accent3"/>
                </a:solidFill>
              </a:rPr>
              <a:t>| </a:t>
            </a:r>
            <a:r>
              <a:rPr lang="en-US" sz="3200" dirty="0"/>
              <a:t> </a:t>
            </a:r>
            <a:r>
              <a:rPr lang="es-PR" sz="3200" dirty="0"/>
              <a:t>Por tipo de població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1D56BBB-54F4-8643-AD46-6886CE210135}"/>
              </a:ext>
            </a:extLst>
          </p:cNvPr>
          <p:cNvSpPr txBox="1">
            <a:spLocks/>
          </p:cNvSpPr>
          <p:nvPr/>
        </p:nvSpPr>
        <p:spPr>
          <a:xfrm rot="16200000">
            <a:off x="-623316" y="3368722"/>
            <a:ext cx="2332082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r"/>
            <a:r>
              <a:rPr lang="en-US" b="1" dirty="0">
                <a:solidFill>
                  <a:schemeClr val="bg1"/>
                </a:solidFill>
              </a:rPr>
              <a:t>Població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ee4pHeader1">
            <a:extLst>
              <a:ext uri="{FF2B5EF4-FFF2-40B4-BE49-F238E27FC236}">
                <a16:creationId xmlns:a16="http://schemas.microsoft.com/office/drawing/2014/main" id="{A9A14828-C285-0341-BF3E-676D5ED573B9}"/>
              </a:ext>
            </a:extLst>
          </p:cNvPr>
          <p:cNvSpPr txBox="1"/>
          <p:nvPr/>
        </p:nvSpPr>
        <p:spPr>
          <a:xfrm>
            <a:off x="823276" y="2371245"/>
            <a:ext cx="2127836" cy="276998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</a:pPr>
            <a:r>
              <a:rPr lang="es-PE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adores de salud</a:t>
            </a:r>
          </a:p>
          <a:p>
            <a: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</a:pPr>
            <a:r>
              <a:rPr lang="es-PE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dentes o pacientes de cuidados a largo plazo (LTC, por sus siglas en inglés), residencias de adultos o pacientes de cuidados a largo plazo apoyados para vivir independientemente </a:t>
            </a:r>
          </a:p>
          <a:p>
            <a: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</a:pPr>
            <a:r>
              <a:rPr lang="es-PE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adores esenciales de respuesta continua a la pandemia</a:t>
            </a:r>
          </a:p>
        </p:txBody>
      </p:sp>
      <p:sp>
        <p:nvSpPr>
          <p:cNvPr id="39" name="ee4pHeader1">
            <a:extLst>
              <a:ext uri="{FF2B5EF4-FFF2-40B4-BE49-F238E27FC236}">
                <a16:creationId xmlns:a16="http://schemas.microsoft.com/office/drawing/2014/main" id="{8F66E531-E078-2549-B008-23341C41D02F}"/>
              </a:ext>
            </a:extLst>
          </p:cNvPr>
          <p:cNvSpPr txBox="1"/>
          <p:nvPr/>
        </p:nvSpPr>
        <p:spPr>
          <a:xfrm>
            <a:off x="8104935" y="2266748"/>
            <a:ext cx="1864934" cy="1246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PA" sz="1600" dirty="0"/>
              <a:t>Personas de 16 a 64 años de edad con otros riesgos médicos</a:t>
            </a:r>
          </a:p>
          <a:p>
            <a:pPr marL="0" indent="0">
              <a:buNone/>
            </a:pPr>
            <a:endParaRPr lang="en-US" sz="1700" dirty="0"/>
          </a:p>
        </p:txBody>
      </p:sp>
      <p:sp>
        <p:nvSpPr>
          <p:cNvPr id="40" name="ee4pHeader1">
            <a:extLst>
              <a:ext uri="{FF2B5EF4-FFF2-40B4-BE49-F238E27FC236}">
                <a16:creationId xmlns:a16="http://schemas.microsoft.com/office/drawing/2014/main" id="{0CD58162-DB31-CE42-9D70-A42B9FC8A100}"/>
              </a:ext>
            </a:extLst>
          </p:cNvPr>
          <p:cNvSpPr txBox="1"/>
          <p:nvPr/>
        </p:nvSpPr>
        <p:spPr>
          <a:xfrm>
            <a:off x="10328430" y="2291818"/>
            <a:ext cx="1746027" cy="175432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PE" sz="1600" dirty="0"/>
              <a:t>Resto de la población de 16 años o más</a:t>
            </a:r>
          </a:p>
          <a:p>
            <a:endParaRPr lang="es-PE" sz="1600" dirty="0"/>
          </a:p>
          <a:p>
            <a:r>
              <a:rPr lang="es-PE" sz="1600" dirty="0"/>
              <a:t>Niños*</a:t>
            </a:r>
          </a:p>
          <a:p>
            <a:endParaRPr lang="en-US" sz="1700" dirty="0"/>
          </a:p>
          <a:p>
            <a:endParaRPr lang="en-US" sz="1700" dirty="0"/>
          </a:p>
        </p:txBody>
      </p:sp>
      <p:sp>
        <p:nvSpPr>
          <p:cNvPr id="41" name="ee4pHeader1">
            <a:extLst>
              <a:ext uri="{FF2B5EF4-FFF2-40B4-BE49-F238E27FC236}">
                <a16:creationId xmlns:a16="http://schemas.microsoft.com/office/drawing/2014/main" id="{A2804830-570C-5F4B-A6F5-510D962C1CE1}"/>
              </a:ext>
            </a:extLst>
          </p:cNvPr>
          <p:cNvSpPr txBox="1"/>
          <p:nvPr/>
        </p:nvSpPr>
        <p:spPr>
          <a:xfrm>
            <a:off x="5672361" y="2246292"/>
            <a:ext cx="1985627" cy="172354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PE" sz="1600" dirty="0"/>
              <a:t>Personas de 16 a 64 años de edad con riesgos médicos severos</a:t>
            </a:r>
          </a:p>
          <a:p>
            <a:endParaRPr lang="es-PE" sz="1600" dirty="0"/>
          </a:p>
          <a:p>
            <a:r>
              <a:rPr lang="es-PE" sz="1600" dirty="0"/>
              <a:t>Otros trabajadores esenciales </a:t>
            </a:r>
          </a:p>
        </p:txBody>
      </p:sp>
      <p:sp>
        <p:nvSpPr>
          <p:cNvPr id="42" name="ee4pHeader1">
            <a:extLst>
              <a:ext uri="{FF2B5EF4-FFF2-40B4-BE49-F238E27FC236}">
                <a16:creationId xmlns:a16="http://schemas.microsoft.com/office/drawing/2014/main" id="{BFC490AA-27B7-2340-821F-0DC24DF773A1}"/>
              </a:ext>
            </a:extLst>
          </p:cNvPr>
          <p:cNvSpPr txBox="1"/>
          <p:nvPr/>
        </p:nvSpPr>
        <p:spPr>
          <a:xfrm>
            <a:off x="3205195" y="2288428"/>
            <a:ext cx="2076319" cy="247760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114300" indent="-114300"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_tradnl" sz="1600" noProof="1"/>
              <a:t>Personas de 65 años o más</a:t>
            </a:r>
          </a:p>
          <a:p>
            <a:endParaRPr lang="es-ES_tradnl" sz="1600" noProof="1"/>
          </a:p>
          <a:p>
            <a:r>
              <a:rPr lang="es-ES_tradnl" sz="1600" noProof="1"/>
              <a:t>Centros con personas congregadas</a:t>
            </a:r>
          </a:p>
          <a:p>
            <a:pPr marL="0" indent="0">
              <a:buNone/>
            </a:pPr>
            <a:endParaRPr lang="es-ES_tradnl" sz="1600" noProof="1"/>
          </a:p>
          <a:p>
            <a:r>
              <a:rPr lang="es-ES_tradnl" sz="1600" noProof="1"/>
              <a:t>Trabajadores esenciales de alto nivel de contacto</a:t>
            </a:r>
          </a:p>
          <a:p>
            <a:pPr marL="0" indent="0">
              <a:buNone/>
            </a:pPr>
            <a:endParaRPr lang="en-US" sz="1700" dirty="0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E1CB62E-2F6C-574A-8278-26FF3DB773B1}"/>
              </a:ext>
            </a:extLst>
          </p:cNvPr>
          <p:cNvGrpSpPr/>
          <p:nvPr/>
        </p:nvGrpSpPr>
        <p:grpSpPr>
          <a:xfrm>
            <a:off x="2947153" y="1474975"/>
            <a:ext cx="236632" cy="4681775"/>
            <a:chOff x="9779835" y="1377548"/>
            <a:chExt cx="236632" cy="4681775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BEC8768D-C2A2-9848-8035-5E01BDC49B3F}"/>
                </a:ext>
              </a:extLst>
            </p:cNvPr>
            <p:cNvCxnSpPr>
              <a:cxnSpLocks/>
            </p:cNvCxnSpPr>
            <p:nvPr/>
          </p:nvCxnSpPr>
          <p:spPr>
            <a:xfrm>
              <a:off x="9894185" y="1377548"/>
              <a:ext cx="0" cy="4681775"/>
            </a:xfrm>
            <a:prstGeom prst="line">
              <a:avLst/>
            </a:prstGeom>
            <a:ln w="41275" cap="rnd">
              <a:solidFill>
                <a:schemeClr val="accent5">
                  <a:lumMod val="40000"/>
                  <a:lumOff val="60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2B9B86C-D1E8-6144-82EA-85D8A8A70746}"/>
                </a:ext>
              </a:extLst>
            </p:cNvPr>
            <p:cNvSpPr/>
            <p:nvPr/>
          </p:nvSpPr>
          <p:spPr>
            <a:xfrm>
              <a:off x="9779835" y="1678974"/>
              <a:ext cx="236632" cy="23855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70" name="Chevron 69">
              <a:extLst>
                <a:ext uri="{FF2B5EF4-FFF2-40B4-BE49-F238E27FC236}">
                  <a16:creationId xmlns:a16="http://schemas.microsoft.com/office/drawing/2014/main" id="{FF0280D7-DEC0-9643-BBAA-EB8582A5DD9B}"/>
                </a:ext>
              </a:extLst>
            </p:cNvPr>
            <p:cNvSpPr/>
            <p:nvPr/>
          </p:nvSpPr>
          <p:spPr>
            <a:xfrm>
              <a:off x="9844058" y="1702650"/>
              <a:ext cx="149085" cy="184015"/>
            </a:xfrm>
            <a:prstGeom prst="chevron">
              <a:avLst/>
            </a:prstGeom>
            <a:solidFill>
              <a:schemeClr val="accent3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82" name="Title 1">
            <a:extLst>
              <a:ext uri="{FF2B5EF4-FFF2-40B4-BE49-F238E27FC236}">
                <a16:creationId xmlns:a16="http://schemas.microsoft.com/office/drawing/2014/main" id="{6BDA825B-CFF1-6843-8F87-A268CE939EC7}"/>
              </a:ext>
            </a:extLst>
          </p:cNvPr>
          <p:cNvSpPr txBox="1">
            <a:spLocks/>
          </p:cNvSpPr>
          <p:nvPr/>
        </p:nvSpPr>
        <p:spPr>
          <a:xfrm rot="16200000">
            <a:off x="4102" y="1295854"/>
            <a:ext cx="1077243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r"/>
            <a:r>
              <a:rPr lang="en-US" b="1" dirty="0" err="1">
                <a:solidFill>
                  <a:schemeClr val="accent3"/>
                </a:solidFill>
              </a:rPr>
              <a:t>Fase</a:t>
            </a:r>
            <a:endParaRPr lang="en-US" dirty="0">
              <a:solidFill>
                <a:schemeClr val="accent3"/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480B0408-D16E-4F45-98E7-0FB2ABB40A37}"/>
              </a:ext>
            </a:extLst>
          </p:cNvPr>
          <p:cNvGrpSpPr/>
          <p:nvPr/>
        </p:nvGrpSpPr>
        <p:grpSpPr>
          <a:xfrm>
            <a:off x="5337656" y="1474975"/>
            <a:ext cx="236632" cy="4681775"/>
            <a:chOff x="9779835" y="1377548"/>
            <a:chExt cx="236632" cy="4681775"/>
          </a:xfrm>
        </p:grpSpPr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C7E704B-18B5-C54E-85DA-76D9565B72C0}"/>
                </a:ext>
              </a:extLst>
            </p:cNvPr>
            <p:cNvCxnSpPr>
              <a:cxnSpLocks/>
            </p:cNvCxnSpPr>
            <p:nvPr/>
          </p:nvCxnSpPr>
          <p:spPr>
            <a:xfrm>
              <a:off x="9894185" y="1377548"/>
              <a:ext cx="0" cy="4681775"/>
            </a:xfrm>
            <a:prstGeom prst="line">
              <a:avLst/>
            </a:prstGeom>
            <a:ln w="41275" cap="rnd">
              <a:solidFill>
                <a:schemeClr val="accent5">
                  <a:lumMod val="40000"/>
                  <a:lumOff val="60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99A805E-BF81-AB4C-B3DF-674225525349}"/>
                </a:ext>
              </a:extLst>
            </p:cNvPr>
            <p:cNvSpPr/>
            <p:nvPr/>
          </p:nvSpPr>
          <p:spPr>
            <a:xfrm>
              <a:off x="9779835" y="1678974"/>
              <a:ext cx="236632" cy="23855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99" name="Chevron 98">
              <a:extLst>
                <a:ext uri="{FF2B5EF4-FFF2-40B4-BE49-F238E27FC236}">
                  <a16:creationId xmlns:a16="http://schemas.microsoft.com/office/drawing/2014/main" id="{E1DAF9BE-9110-684F-A0E7-9F081C3E6F29}"/>
                </a:ext>
              </a:extLst>
            </p:cNvPr>
            <p:cNvSpPr/>
            <p:nvPr/>
          </p:nvSpPr>
          <p:spPr>
            <a:xfrm>
              <a:off x="9844058" y="1702650"/>
              <a:ext cx="149085" cy="184015"/>
            </a:xfrm>
            <a:prstGeom prst="chevron">
              <a:avLst/>
            </a:prstGeom>
            <a:solidFill>
              <a:schemeClr val="accent3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9EE99C6-70A1-BF40-8706-57864FFC3AC6}"/>
              </a:ext>
            </a:extLst>
          </p:cNvPr>
          <p:cNvGrpSpPr/>
          <p:nvPr/>
        </p:nvGrpSpPr>
        <p:grpSpPr>
          <a:xfrm>
            <a:off x="7728158" y="1474975"/>
            <a:ext cx="236632" cy="4681775"/>
            <a:chOff x="9779835" y="1377548"/>
            <a:chExt cx="236632" cy="4681775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32BEECF-7A89-164E-9D2A-ADBC148ACC65}"/>
                </a:ext>
              </a:extLst>
            </p:cNvPr>
            <p:cNvCxnSpPr>
              <a:cxnSpLocks/>
            </p:cNvCxnSpPr>
            <p:nvPr/>
          </p:nvCxnSpPr>
          <p:spPr>
            <a:xfrm>
              <a:off x="9894185" y="1377548"/>
              <a:ext cx="0" cy="4681775"/>
            </a:xfrm>
            <a:prstGeom prst="line">
              <a:avLst/>
            </a:prstGeom>
            <a:ln w="41275" cap="rnd">
              <a:solidFill>
                <a:schemeClr val="accent5">
                  <a:lumMod val="40000"/>
                  <a:lumOff val="60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4D3030D2-A81E-6A4C-B82C-03F6586A9429}"/>
                </a:ext>
              </a:extLst>
            </p:cNvPr>
            <p:cNvSpPr/>
            <p:nvPr/>
          </p:nvSpPr>
          <p:spPr>
            <a:xfrm>
              <a:off x="9779835" y="1678974"/>
              <a:ext cx="236632" cy="23855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3" name="Chevron 102">
              <a:extLst>
                <a:ext uri="{FF2B5EF4-FFF2-40B4-BE49-F238E27FC236}">
                  <a16:creationId xmlns:a16="http://schemas.microsoft.com/office/drawing/2014/main" id="{7C945A2B-FE26-E743-BA88-932C28D223FB}"/>
                </a:ext>
              </a:extLst>
            </p:cNvPr>
            <p:cNvSpPr/>
            <p:nvPr/>
          </p:nvSpPr>
          <p:spPr>
            <a:xfrm>
              <a:off x="9844058" y="1702650"/>
              <a:ext cx="149085" cy="184015"/>
            </a:xfrm>
            <a:prstGeom prst="chevron">
              <a:avLst/>
            </a:prstGeom>
            <a:solidFill>
              <a:schemeClr val="accent3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19D5C20-8522-954F-A7F5-AA3240BD06C6}"/>
              </a:ext>
            </a:extLst>
          </p:cNvPr>
          <p:cNvGrpSpPr/>
          <p:nvPr/>
        </p:nvGrpSpPr>
        <p:grpSpPr>
          <a:xfrm>
            <a:off x="9974970" y="1474975"/>
            <a:ext cx="236632" cy="4681775"/>
            <a:chOff x="9779835" y="1377548"/>
            <a:chExt cx="236632" cy="4681775"/>
          </a:xfrm>
        </p:grpSpPr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A63AE652-BA16-B142-A444-539B456E59FE}"/>
                </a:ext>
              </a:extLst>
            </p:cNvPr>
            <p:cNvCxnSpPr>
              <a:cxnSpLocks/>
            </p:cNvCxnSpPr>
            <p:nvPr/>
          </p:nvCxnSpPr>
          <p:spPr>
            <a:xfrm>
              <a:off x="9894185" y="1377548"/>
              <a:ext cx="0" cy="4681775"/>
            </a:xfrm>
            <a:prstGeom prst="line">
              <a:avLst/>
            </a:prstGeom>
            <a:ln w="41275" cap="rnd">
              <a:solidFill>
                <a:schemeClr val="accent5">
                  <a:lumMod val="40000"/>
                  <a:lumOff val="60000"/>
                </a:schemeClr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FFF5FA88-FBAC-BA4D-90F1-8605AA434713}"/>
                </a:ext>
              </a:extLst>
            </p:cNvPr>
            <p:cNvSpPr/>
            <p:nvPr/>
          </p:nvSpPr>
          <p:spPr>
            <a:xfrm>
              <a:off x="9779835" y="1678974"/>
              <a:ext cx="236632" cy="23855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107" name="Chevron 106">
              <a:extLst>
                <a:ext uri="{FF2B5EF4-FFF2-40B4-BE49-F238E27FC236}">
                  <a16:creationId xmlns:a16="http://schemas.microsoft.com/office/drawing/2014/main" id="{E034BA2F-ED07-AC47-A783-15ABC068491F}"/>
                </a:ext>
              </a:extLst>
            </p:cNvPr>
            <p:cNvSpPr/>
            <p:nvPr/>
          </p:nvSpPr>
          <p:spPr>
            <a:xfrm>
              <a:off x="9844058" y="1702650"/>
              <a:ext cx="149085" cy="184015"/>
            </a:xfrm>
            <a:prstGeom prst="chevron">
              <a:avLst/>
            </a:prstGeom>
            <a:solidFill>
              <a:schemeClr val="accent3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15056557-178E-A748-B639-B8C812FB98A2}"/>
              </a:ext>
            </a:extLst>
          </p:cNvPr>
          <p:cNvSpPr/>
          <p:nvPr/>
        </p:nvSpPr>
        <p:spPr>
          <a:xfrm>
            <a:off x="0" y="5411428"/>
            <a:ext cx="12192000" cy="208691"/>
          </a:xfrm>
          <a:prstGeom prst="rect">
            <a:avLst/>
          </a:prstGeom>
          <a:solidFill>
            <a:schemeClr val="accent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324B3EA-FCBF-234B-A7AF-10E3927362D7}"/>
              </a:ext>
            </a:extLst>
          </p:cNvPr>
          <p:cNvSpPr/>
          <p:nvPr/>
        </p:nvSpPr>
        <p:spPr>
          <a:xfrm>
            <a:off x="0" y="5567152"/>
            <a:ext cx="12188952" cy="11682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767736E-A296-F64F-8C00-2D97D0C44842}"/>
              </a:ext>
            </a:extLst>
          </p:cNvPr>
          <p:cNvSpPr/>
          <p:nvPr/>
        </p:nvSpPr>
        <p:spPr>
          <a:xfrm>
            <a:off x="138502" y="6345097"/>
            <a:ext cx="1191194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s-CL" sz="1300" dirty="0">
                <a:latin typeface="Calibri" panose="020F0502020204030204" pitchFamily="34" charset="0"/>
                <a:cs typeface="Calibri" panose="020F0502020204030204" pitchFamily="34" charset="0"/>
              </a:rPr>
              <a:t> Sujeto a investigaciones futuras sobre el riesgo y efectividad de las vacunas para los niños.  Nota: Las fechas de las fases dependen del suministro de vacunas. 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B6247C1-67ED-444D-A27C-71A759585235}"/>
              </a:ext>
            </a:extLst>
          </p:cNvPr>
          <p:cNvSpPr/>
          <p:nvPr/>
        </p:nvSpPr>
        <p:spPr>
          <a:xfrm>
            <a:off x="2865069" y="5292000"/>
            <a:ext cx="388495" cy="388495"/>
          </a:xfrm>
          <a:prstGeom prst="ellipse">
            <a:avLst/>
          </a:prstGeom>
          <a:solidFill>
            <a:srgbClr val="EDAE1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2DB8AB4-CD4F-42F2-BD30-E4B2AA18A483}"/>
              </a:ext>
            </a:extLst>
          </p:cNvPr>
          <p:cNvSpPr/>
          <p:nvPr/>
        </p:nvSpPr>
        <p:spPr>
          <a:xfrm>
            <a:off x="5270481" y="5292000"/>
            <a:ext cx="388495" cy="388495"/>
          </a:xfrm>
          <a:prstGeom prst="ellipse">
            <a:avLst/>
          </a:prstGeom>
          <a:solidFill>
            <a:srgbClr val="EDAE1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54CF6AE-BE6F-4EA6-A897-9637C40F518F}"/>
              </a:ext>
            </a:extLst>
          </p:cNvPr>
          <p:cNvSpPr/>
          <p:nvPr/>
        </p:nvSpPr>
        <p:spPr>
          <a:xfrm>
            <a:off x="9879278" y="5292000"/>
            <a:ext cx="388495" cy="388495"/>
          </a:xfrm>
          <a:prstGeom prst="ellipse">
            <a:avLst/>
          </a:prstGeom>
          <a:solidFill>
            <a:srgbClr val="EDAE1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0D9EA08-9AAC-4B5A-9394-4B5DAB1FB978}"/>
              </a:ext>
            </a:extLst>
          </p:cNvPr>
          <p:cNvSpPr txBox="1"/>
          <p:nvPr/>
        </p:nvSpPr>
        <p:spPr>
          <a:xfrm>
            <a:off x="1888709" y="5680495"/>
            <a:ext cx="2104873" cy="4951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rgbClr val="051934"/>
                </a:solidFill>
              </a:rPr>
              <a:t>Finales de </a:t>
            </a:r>
            <a:r>
              <a:rPr lang="en-US" b="1" dirty="0" err="1">
                <a:solidFill>
                  <a:srgbClr val="051934"/>
                </a:solidFill>
              </a:rPr>
              <a:t>enero</a:t>
            </a:r>
            <a:endParaRPr lang="en-US" b="1" dirty="0">
              <a:solidFill>
                <a:srgbClr val="051934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2E7692B-5C10-4624-8D11-8C1E9FE90624}"/>
              </a:ext>
            </a:extLst>
          </p:cNvPr>
          <p:cNvSpPr txBox="1"/>
          <p:nvPr/>
        </p:nvSpPr>
        <p:spPr>
          <a:xfrm>
            <a:off x="4498346" y="5826313"/>
            <a:ext cx="1859885" cy="4951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err="1">
                <a:solidFill>
                  <a:srgbClr val="051934"/>
                </a:solidFill>
              </a:rPr>
              <a:t>Marzo</a:t>
            </a:r>
            <a:endParaRPr lang="en-US" b="1" dirty="0">
              <a:solidFill>
                <a:srgbClr val="051934"/>
              </a:solidFill>
            </a:endParaRPr>
          </a:p>
          <a:p>
            <a:pPr algn="ctr"/>
            <a:r>
              <a:rPr lang="en-US" dirty="0" err="1">
                <a:solidFill>
                  <a:srgbClr val="051934"/>
                </a:solidFill>
              </a:rPr>
              <a:t>Fases</a:t>
            </a:r>
            <a:r>
              <a:rPr lang="en-US" dirty="0">
                <a:solidFill>
                  <a:srgbClr val="051934"/>
                </a:solidFill>
              </a:rPr>
              <a:t> 3 &amp; 4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B5AC72B-08AC-4972-8D9C-7F056A3F30B8}"/>
              </a:ext>
            </a:extLst>
          </p:cNvPr>
          <p:cNvSpPr txBox="1"/>
          <p:nvPr/>
        </p:nvSpPr>
        <p:spPr>
          <a:xfrm>
            <a:off x="9179224" y="5680495"/>
            <a:ext cx="1859885" cy="49515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rgbClr val="051934"/>
                </a:solidFill>
              </a:rPr>
              <a:t>Mayo</a:t>
            </a:r>
          </a:p>
        </p:txBody>
      </p:sp>
      <p:sp>
        <p:nvSpPr>
          <p:cNvPr id="57" name="Chevron 69">
            <a:extLst>
              <a:ext uri="{FF2B5EF4-FFF2-40B4-BE49-F238E27FC236}">
                <a16:creationId xmlns:a16="http://schemas.microsoft.com/office/drawing/2014/main" id="{E0DD6876-6E19-4AC0-8B98-2972DD5CCD69}"/>
              </a:ext>
            </a:extLst>
          </p:cNvPr>
          <p:cNvSpPr/>
          <p:nvPr/>
        </p:nvSpPr>
        <p:spPr>
          <a:xfrm>
            <a:off x="2984774" y="5394240"/>
            <a:ext cx="149085" cy="184015"/>
          </a:xfrm>
          <a:prstGeom prst="chevron">
            <a:avLst/>
          </a:prstGeom>
          <a:solidFill>
            <a:srgbClr val="0519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Chevron 69">
            <a:extLst>
              <a:ext uri="{FF2B5EF4-FFF2-40B4-BE49-F238E27FC236}">
                <a16:creationId xmlns:a16="http://schemas.microsoft.com/office/drawing/2014/main" id="{2782DC37-535F-4BA2-9B45-A65EB74CB99E}"/>
              </a:ext>
            </a:extLst>
          </p:cNvPr>
          <p:cNvSpPr/>
          <p:nvPr/>
        </p:nvSpPr>
        <p:spPr>
          <a:xfrm>
            <a:off x="5390186" y="5394240"/>
            <a:ext cx="149085" cy="184015"/>
          </a:xfrm>
          <a:prstGeom prst="chevron">
            <a:avLst/>
          </a:prstGeom>
          <a:solidFill>
            <a:srgbClr val="0519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Chevron 69">
            <a:extLst>
              <a:ext uri="{FF2B5EF4-FFF2-40B4-BE49-F238E27FC236}">
                <a16:creationId xmlns:a16="http://schemas.microsoft.com/office/drawing/2014/main" id="{AA0A5785-8DC6-4576-AEAC-E910F76DAA95}"/>
              </a:ext>
            </a:extLst>
          </p:cNvPr>
          <p:cNvSpPr/>
          <p:nvPr/>
        </p:nvSpPr>
        <p:spPr>
          <a:xfrm>
            <a:off x="10020249" y="5394240"/>
            <a:ext cx="149085" cy="184015"/>
          </a:xfrm>
          <a:prstGeom prst="chevron">
            <a:avLst/>
          </a:prstGeom>
          <a:solidFill>
            <a:srgbClr val="0519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05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341A29-4A29-40A2-8DDA-383BDA2AE8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0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0341A29-4A29-40A2-8DDA-383BDA2AE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EBAFB2-B9BD-4CA9-81FB-A3395967C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0935" y="1709214"/>
            <a:ext cx="2820160" cy="2218280"/>
          </a:xfrm>
        </p:spPr>
        <p:txBody>
          <a:bodyPr/>
          <a:lstStyle/>
          <a:p>
            <a:r>
              <a:rPr lang="en-US" sz="2400" dirty="0"/>
              <a:t>El </a:t>
            </a:r>
            <a:r>
              <a:rPr lang="en-US" sz="2400" dirty="0" err="1"/>
              <a:t>Departamento</a:t>
            </a:r>
            <a:r>
              <a:rPr lang="en-US" sz="2400" dirty="0"/>
              <a:t> de </a:t>
            </a:r>
            <a:r>
              <a:rPr lang="en-US" sz="2400" dirty="0" err="1"/>
              <a:t>Salud</a:t>
            </a:r>
            <a:r>
              <a:rPr lang="en-US" sz="2400" dirty="0"/>
              <a:t> y </a:t>
            </a:r>
            <a:r>
              <a:rPr lang="en-US" sz="2400" dirty="0" err="1"/>
              <a:t>Medio</a:t>
            </a:r>
            <a:r>
              <a:rPr lang="en-US" sz="2400" dirty="0"/>
              <a:t> </a:t>
            </a:r>
            <a:r>
              <a:rPr lang="en-US" sz="2400" dirty="0" err="1"/>
              <a:t>Ambiente</a:t>
            </a:r>
            <a:r>
              <a:rPr lang="en-US" sz="2400" dirty="0"/>
              <a:t> de Kansas (KDHE, </a:t>
            </a:r>
            <a:r>
              <a:rPr lang="en-US" sz="2400" dirty="0" err="1"/>
              <a:t>por</a:t>
            </a:r>
            <a:r>
              <a:rPr lang="en-US" sz="2400" dirty="0"/>
              <a:t> </a:t>
            </a:r>
            <a:r>
              <a:rPr lang="en-US" sz="2400" dirty="0" err="1"/>
              <a:t>sus</a:t>
            </a:r>
            <a:r>
              <a:rPr lang="en-US" sz="2400" dirty="0"/>
              <a:t> </a:t>
            </a:r>
            <a:r>
              <a:rPr lang="en-US" sz="2400" dirty="0" err="1"/>
              <a:t>siglas</a:t>
            </a:r>
            <a:r>
              <a:rPr lang="en-US" sz="2400" dirty="0"/>
              <a:t> en </a:t>
            </a:r>
            <a:r>
              <a:rPr lang="en-US" sz="2400" dirty="0" err="1"/>
              <a:t>inglés</a:t>
            </a:r>
            <a:r>
              <a:rPr lang="en-US" sz="2400" dirty="0"/>
              <a:t>) </a:t>
            </a:r>
            <a:r>
              <a:rPr lang="en-US" sz="2400" dirty="0" err="1"/>
              <a:t>adoptó</a:t>
            </a:r>
            <a:r>
              <a:rPr lang="en-US" sz="2400" dirty="0"/>
              <a:t> </a:t>
            </a:r>
            <a:r>
              <a:rPr lang="en-US" sz="2400" dirty="0" err="1"/>
              <a:t>las</a:t>
            </a:r>
            <a:r>
              <a:rPr lang="en-US" sz="2400" dirty="0"/>
              <a:t> </a:t>
            </a:r>
            <a:r>
              <a:rPr lang="en-US" sz="2400" dirty="0" err="1"/>
              <a:t>recomendaciones</a:t>
            </a:r>
            <a:r>
              <a:rPr lang="en-US" sz="2400" dirty="0"/>
              <a:t> </a:t>
            </a:r>
            <a:r>
              <a:rPr lang="en-US" sz="2400" dirty="0" err="1"/>
              <a:t>federales</a:t>
            </a:r>
            <a:r>
              <a:rPr lang="en-US" sz="2400" dirty="0"/>
              <a:t> para </a:t>
            </a:r>
            <a:r>
              <a:rPr lang="en-US" sz="2400" dirty="0" err="1"/>
              <a:t>evaluar</a:t>
            </a:r>
            <a:r>
              <a:rPr lang="en-US" sz="2400" dirty="0"/>
              <a:t> los </a:t>
            </a:r>
            <a:r>
              <a:rPr lang="en-US" sz="2400" dirty="0" err="1"/>
              <a:t>riesgos</a:t>
            </a:r>
            <a:r>
              <a:rPr lang="en-US" sz="2400" dirty="0"/>
              <a:t> de la </a:t>
            </a:r>
            <a:r>
              <a:rPr lang="en-US" sz="2400" dirty="0" err="1"/>
              <a:t>exposición</a:t>
            </a:r>
            <a:r>
              <a:rPr lang="en-US" sz="2400" dirty="0"/>
              <a:t> </a:t>
            </a:r>
            <a:r>
              <a:rPr lang="en-US" sz="2400" dirty="0" err="1"/>
              <a:t>asociados</a:t>
            </a:r>
            <a:r>
              <a:rPr lang="en-US" sz="2400" dirty="0"/>
              <a:t> a los </a:t>
            </a:r>
            <a:r>
              <a:rPr lang="en-US" sz="2400" dirty="0" err="1"/>
              <a:t>lugares</a:t>
            </a:r>
            <a:r>
              <a:rPr lang="en-US" sz="2400" dirty="0"/>
              <a:t> de </a:t>
            </a:r>
            <a:r>
              <a:rPr lang="en-US" sz="2400" dirty="0" err="1"/>
              <a:t>trabajo</a:t>
            </a:r>
            <a:r>
              <a:rPr lang="en-US" sz="2400" dirty="0"/>
              <a:t> y a </a:t>
            </a:r>
            <a:r>
              <a:rPr lang="en-US" sz="2400" dirty="0" err="1"/>
              <a:t>las</a:t>
            </a:r>
            <a:r>
              <a:rPr lang="en-US" sz="2400" dirty="0"/>
              <a:t> </a:t>
            </a:r>
            <a:r>
              <a:rPr lang="en-US" sz="2400" dirty="0" err="1"/>
              <a:t>condiciones</a:t>
            </a:r>
            <a:r>
              <a:rPr lang="en-US" sz="2400" dirty="0"/>
              <a:t> de </a:t>
            </a:r>
            <a:r>
              <a:rPr lang="en-US" sz="2400" dirty="0" err="1"/>
              <a:t>alojamiento</a:t>
            </a:r>
            <a:r>
              <a:rPr lang="en-US" sz="2400" dirty="0"/>
              <a:t>/</a:t>
            </a:r>
            <a:r>
              <a:rPr lang="en-US" sz="2400" dirty="0" err="1"/>
              <a:t>vivienda</a:t>
            </a: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CAF2B1-F2E1-43D3-B60D-9520B492E584}"/>
              </a:ext>
            </a:extLst>
          </p:cNvPr>
          <p:cNvSpPr txBox="1"/>
          <p:nvPr/>
        </p:nvSpPr>
        <p:spPr>
          <a:xfrm>
            <a:off x="5279010" y="849615"/>
            <a:ext cx="655103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Las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orma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federales</a:t>
            </a:r>
            <a:r>
              <a:rPr lang="en-US" sz="2000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1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consideran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el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úmero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y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naturaleza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de los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contacto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requerido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por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la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diferent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ocupacione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397829" y="1611756"/>
            <a:ext cx="7432221" cy="0"/>
          </a:xfrm>
          <a:prstGeom prst="line">
            <a:avLst/>
          </a:prstGeom>
          <a:ln w="19050" cap="rnd" cmpd="sng" algn="ctr">
            <a:solidFill>
              <a:srgbClr val="05193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4397828" y="3181478"/>
            <a:ext cx="743222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397828" y="4106318"/>
            <a:ext cx="743222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4397828" y="5031158"/>
            <a:ext cx="743222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6C1F17C-1168-45A3-9923-F369DA447ABD}"/>
              </a:ext>
            </a:extLst>
          </p:cNvPr>
          <p:cNvGrpSpPr/>
          <p:nvPr/>
        </p:nvGrpSpPr>
        <p:grpSpPr>
          <a:xfrm>
            <a:off x="4404039" y="2341459"/>
            <a:ext cx="7426009" cy="755198"/>
            <a:chOff x="4404039" y="2341459"/>
            <a:chExt cx="7426009" cy="75519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2FB42B6-D20B-4475-9A7F-C2C1022D3ED6}"/>
                </a:ext>
              </a:extLst>
            </p:cNvPr>
            <p:cNvSpPr/>
            <p:nvPr/>
          </p:nvSpPr>
          <p:spPr>
            <a:xfrm>
              <a:off x="5279011" y="2595949"/>
              <a:ext cx="2190529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dad</a:t>
              </a:r>
              <a:endParaRPr lang="en-US" sz="1600" b="1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FCB72AD-FEE7-42AA-BC5F-979559866BF0}"/>
                </a:ext>
              </a:extLst>
            </p:cNvPr>
            <p:cNvSpPr/>
            <p:nvPr/>
          </p:nvSpPr>
          <p:spPr>
            <a:xfrm>
              <a:off x="8229599" y="2472837"/>
              <a:ext cx="3600449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sidente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y personal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ue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tén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a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no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 6 pies de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stancia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el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no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l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tro</a:t>
              </a: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D37D99A-11CD-4666-BA9B-07F2C54E3BA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96114" y="2565604"/>
              <a:ext cx="306910" cy="306910"/>
              <a:chOff x="982662" y="1847850"/>
              <a:chExt cx="269875" cy="269875"/>
            </a:xfrm>
          </p:grpSpPr>
          <p:sp>
            <p:nvSpPr>
              <p:cNvPr id="18" name="Oval 50">
                <a:extLst>
                  <a:ext uri="{FF2B5EF4-FFF2-40B4-BE49-F238E27FC236}">
                    <a16:creationId xmlns:a16="http://schemas.microsoft.com/office/drawing/2014/main" id="{AF8B8F3D-8281-4C4D-9646-0C74BE7EB9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rgbClr val="051934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Freeform 51">
                <a:extLst>
                  <a:ext uri="{FF2B5EF4-FFF2-40B4-BE49-F238E27FC236}">
                    <a16:creationId xmlns:a16="http://schemas.microsoft.com/office/drawing/2014/main" id="{1FA00367-C290-4D92-8654-14F380B371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3" name="Group 42"/>
            <p:cNvGrpSpPr>
              <a:grpSpLocks noChangeAspect="1"/>
            </p:cNvGrpSpPr>
            <p:nvPr/>
          </p:nvGrpSpPr>
          <p:grpSpPr>
            <a:xfrm>
              <a:off x="4404039" y="2341459"/>
              <a:ext cx="755198" cy="755198"/>
              <a:chOff x="5273675" y="2570163"/>
              <a:chExt cx="1644650" cy="1644650"/>
            </a:xfrm>
          </p:grpSpPr>
          <p:sp>
            <p:nvSpPr>
              <p:cNvPr id="4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70163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5" name="Group 44"/>
              <p:cNvGrpSpPr/>
              <p:nvPr/>
            </p:nvGrpSpPr>
            <p:grpSpPr>
              <a:xfrm>
                <a:off x="5548313" y="2844801"/>
                <a:ext cx="1093788" cy="1093788"/>
                <a:chOff x="5548313" y="2844801"/>
                <a:chExt cx="1093788" cy="1093788"/>
              </a:xfrm>
            </p:grpSpPr>
            <p:sp>
              <p:nvSpPr>
                <p:cNvPr id="46" name="Freeform 45"/>
                <p:cNvSpPr>
                  <a:spLocks/>
                </p:cNvSpPr>
                <p:nvPr/>
              </p:nvSpPr>
              <p:spPr bwMode="auto">
                <a:xfrm>
                  <a:off x="5548313" y="2844801"/>
                  <a:ext cx="1093788" cy="1093788"/>
                </a:xfrm>
                <a:custGeom>
                  <a:avLst/>
                  <a:gdLst>
                    <a:gd name="connsiteX0" fmla="*/ 546894 w 1093788"/>
                    <a:gd name="connsiteY0" fmla="*/ 352425 h 1093788"/>
                    <a:gd name="connsiteX1" fmla="*/ 562623 w 1093788"/>
                    <a:gd name="connsiteY1" fmla="*/ 368154 h 1093788"/>
                    <a:gd name="connsiteX2" fmla="*/ 546894 w 1093788"/>
                    <a:gd name="connsiteY2" fmla="*/ 383883 h 1093788"/>
                    <a:gd name="connsiteX3" fmla="*/ 383883 w 1093788"/>
                    <a:gd name="connsiteY3" fmla="*/ 546894 h 1093788"/>
                    <a:gd name="connsiteX4" fmla="*/ 546894 w 1093788"/>
                    <a:gd name="connsiteY4" fmla="*/ 709905 h 1093788"/>
                    <a:gd name="connsiteX5" fmla="*/ 709905 w 1093788"/>
                    <a:gd name="connsiteY5" fmla="*/ 546894 h 1093788"/>
                    <a:gd name="connsiteX6" fmla="*/ 725634 w 1093788"/>
                    <a:gd name="connsiteY6" fmla="*/ 531165 h 1093788"/>
                    <a:gd name="connsiteX7" fmla="*/ 741363 w 1093788"/>
                    <a:gd name="connsiteY7" fmla="*/ 546894 h 1093788"/>
                    <a:gd name="connsiteX8" fmla="*/ 546894 w 1093788"/>
                    <a:gd name="connsiteY8" fmla="*/ 741363 h 1093788"/>
                    <a:gd name="connsiteX9" fmla="*/ 352425 w 1093788"/>
                    <a:gd name="connsiteY9" fmla="*/ 546894 h 1093788"/>
                    <a:gd name="connsiteX10" fmla="*/ 546894 w 1093788"/>
                    <a:gd name="connsiteY10" fmla="*/ 352425 h 1093788"/>
                    <a:gd name="connsiteX11" fmla="*/ 546894 w 1093788"/>
                    <a:gd name="connsiteY11" fmla="*/ 0 h 1093788"/>
                    <a:gd name="connsiteX12" fmla="*/ 995976 w 1093788"/>
                    <a:gd name="connsiteY12" fmla="*/ 234179 h 1093788"/>
                    <a:gd name="connsiteX13" fmla="*/ 991692 w 1093788"/>
                    <a:gd name="connsiteY13" fmla="*/ 256312 h 1093788"/>
                    <a:gd name="connsiteX14" fmla="*/ 969559 w 1093788"/>
                    <a:gd name="connsiteY14" fmla="*/ 252028 h 1093788"/>
                    <a:gd name="connsiteX15" fmla="*/ 546894 w 1093788"/>
                    <a:gd name="connsiteY15" fmla="*/ 31414 h 1093788"/>
                    <a:gd name="connsiteX16" fmla="*/ 31414 w 1093788"/>
                    <a:gd name="connsiteY16" fmla="*/ 546894 h 1093788"/>
                    <a:gd name="connsiteX17" fmla="*/ 204907 w 1093788"/>
                    <a:gd name="connsiteY17" fmla="*/ 931719 h 1093788"/>
                    <a:gd name="connsiteX18" fmla="*/ 257026 w 1093788"/>
                    <a:gd name="connsiteY18" fmla="*/ 874602 h 1093788"/>
                    <a:gd name="connsiteX19" fmla="*/ 189913 w 1093788"/>
                    <a:gd name="connsiteY19" fmla="*/ 800350 h 1093788"/>
                    <a:gd name="connsiteX20" fmla="*/ 194197 w 1093788"/>
                    <a:gd name="connsiteY20" fmla="*/ 778217 h 1093788"/>
                    <a:gd name="connsiteX21" fmla="*/ 215616 w 1093788"/>
                    <a:gd name="connsiteY21" fmla="*/ 781787 h 1093788"/>
                    <a:gd name="connsiteX22" fmla="*/ 370546 w 1093788"/>
                    <a:gd name="connsiteY22" fmla="*/ 912442 h 1093788"/>
                    <a:gd name="connsiteX23" fmla="*/ 912442 w 1093788"/>
                    <a:gd name="connsiteY23" fmla="*/ 723242 h 1093788"/>
                    <a:gd name="connsiteX24" fmla="*/ 723243 w 1093788"/>
                    <a:gd name="connsiteY24" fmla="*/ 181346 h 1093788"/>
                    <a:gd name="connsiteX25" fmla="*/ 562601 w 1093788"/>
                    <a:gd name="connsiteY25" fmla="*/ 141364 h 1093788"/>
                    <a:gd name="connsiteX26" fmla="*/ 562601 w 1093788"/>
                    <a:gd name="connsiteY26" fmla="*/ 227753 h 1093788"/>
                    <a:gd name="connsiteX27" fmla="*/ 866035 w 1093788"/>
                    <a:gd name="connsiteY27" fmla="*/ 546894 h 1093788"/>
                    <a:gd name="connsiteX28" fmla="*/ 739664 w 1093788"/>
                    <a:gd name="connsiteY28" fmla="*/ 801778 h 1093788"/>
                    <a:gd name="connsiteX29" fmla="*/ 717531 w 1093788"/>
                    <a:gd name="connsiteY29" fmla="*/ 798208 h 1093788"/>
                    <a:gd name="connsiteX30" fmla="*/ 721101 w 1093788"/>
                    <a:gd name="connsiteY30" fmla="*/ 776790 h 1093788"/>
                    <a:gd name="connsiteX31" fmla="*/ 834620 w 1093788"/>
                    <a:gd name="connsiteY31" fmla="*/ 546894 h 1093788"/>
                    <a:gd name="connsiteX32" fmla="*/ 546894 w 1093788"/>
                    <a:gd name="connsiteY32" fmla="*/ 259168 h 1093788"/>
                    <a:gd name="connsiteX33" fmla="*/ 259168 w 1093788"/>
                    <a:gd name="connsiteY33" fmla="*/ 546894 h 1093788"/>
                    <a:gd name="connsiteX34" fmla="*/ 546894 w 1093788"/>
                    <a:gd name="connsiteY34" fmla="*/ 834620 h 1093788"/>
                    <a:gd name="connsiteX35" fmla="*/ 562601 w 1093788"/>
                    <a:gd name="connsiteY35" fmla="*/ 850328 h 1093788"/>
                    <a:gd name="connsiteX36" fmla="*/ 546894 w 1093788"/>
                    <a:gd name="connsiteY36" fmla="*/ 866035 h 1093788"/>
                    <a:gd name="connsiteX37" fmla="*/ 227753 w 1093788"/>
                    <a:gd name="connsiteY37" fmla="*/ 546894 h 1093788"/>
                    <a:gd name="connsiteX38" fmla="*/ 531187 w 1093788"/>
                    <a:gd name="connsiteY38" fmla="*/ 227753 h 1093788"/>
                    <a:gd name="connsiteX39" fmla="*/ 531187 w 1093788"/>
                    <a:gd name="connsiteY39" fmla="*/ 141364 h 1093788"/>
                    <a:gd name="connsiteX40" fmla="*/ 181346 w 1093788"/>
                    <a:gd name="connsiteY40" fmla="*/ 370546 h 1093788"/>
                    <a:gd name="connsiteX41" fmla="*/ 143506 w 1093788"/>
                    <a:gd name="connsiteY41" fmla="*/ 590446 h 1093788"/>
                    <a:gd name="connsiteX42" fmla="*/ 129227 w 1093788"/>
                    <a:gd name="connsiteY42" fmla="*/ 607581 h 1093788"/>
                    <a:gd name="connsiteX43" fmla="*/ 112092 w 1093788"/>
                    <a:gd name="connsiteY43" fmla="*/ 593302 h 1093788"/>
                    <a:gd name="connsiteX44" fmla="*/ 153501 w 1093788"/>
                    <a:gd name="connsiteY44" fmla="*/ 356267 h 1093788"/>
                    <a:gd name="connsiteX45" fmla="*/ 545466 w 1093788"/>
                    <a:gd name="connsiteY45" fmla="*/ 109950 h 1093788"/>
                    <a:gd name="connsiteX46" fmla="*/ 546894 w 1093788"/>
                    <a:gd name="connsiteY46" fmla="*/ 109236 h 1093788"/>
                    <a:gd name="connsiteX47" fmla="*/ 547608 w 1093788"/>
                    <a:gd name="connsiteY47" fmla="*/ 109950 h 1093788"/>
                    <a:gd name="connsiteX48" fmla="*/ 737522 w 1093788"/>
                    <a:gd name="connsiteY48" fmla="*/ 153501 h 1093788"/>
                    <a:gd name="connsiteX49" fmla="*/ 940287 w 1093788"/>
                    <a:gd name="connsiteY49" fmla="*/ 737522 h 1093788"/>
                    <a:gd name="connsiteX50" fmla="*/ 546180 w 1093788"/>
                    <a:gd name="connsiteY50" fmla="*/ 983838 h 1093788"/>
                    <a:gd name="connsiteX51" fmla="*/ 356267 w 1093788"/>
                    <a:gd name="connsiteY51" fmla="*/ 940287 h 1093788"/>
                    <a:gd name="connsiteX52" fmla="*/ 281300 w 1093788"/>
                    <a:gd name="connsiteY52" fmla="*/ 894593 h 1093788"/>
                    <a:gd name="connsiteX53" fmla="*/ 228467 w 1093788"/>
                    <a:gd name="connsiteY53" fmla="*/ 952424 h 1093788"/>
                    <a:gd name="connsiteX54" fmla="*/ 546894 w 1093788"/>
                    <a:gd name="connsiteY54" fmla="*/ 1062374 h 1093788"/>
                    <a:gd name="connsiteX55" fmla="*/ 1062374 w 1093788"/>
                    <a:gd name="connsiteY55" fmla="*/ 546894 h 1093788"/>
                    <a:gd name="connsiteX56" fmla="*/ 1046667 w 1093788"/>
                    <a:gd name="connsiteY56" fmla="*/ 419095 h 1093788"/>
                    <a:gd name="connsiteX57" fmla="*/ 1058090 w 1093788"/>
                    <a:gd name="connsiteY57" fmla="*/ 399818 h 1093788"/>
                    <a:gd name="connsiteX58" fmla="*/ 1076653 w 1093788"/>
                    <a:gd name="connsiteY58" fmla="*/ 411242 h 1093788"/>
                    <a:gd name="connsiteX59" fmla="*/ 1093788 w 1093788"/>
                    <a:gd name="connsiteY59" fmla="*/ 546894 h 1093788"/>
                    <a:gd name="connsiteX60" fmla="*/ 546894 w 1093788"/>
                    <a:gd name="connsiteY60" fmla="*/ 1093788 h 1093788"/>
                    <a:gd name="connsiteX61" fmla="*/ 197767 w 1093788"/>
                    <a:gd name="connsiteY61" fmla="*/ 967417 h 1093788"/>
                    <a:gd name="connsiteX62" fmla="*/ 194911 w 1093788"/>
                    <a:gd name="connsiteY62" fmla="*/ 965989 h 1093788"/>
                    <a:gd name="connsiteX63" fmla="*/ 194197 w 1093788"/>
                    <a:gd name="connsiteY63" fmla="*/ 964561 h 1093788"/>
                    <a:gd name="connsiteX64" fmla="*/ 0 w 1093788"/>
                    <a:gd name="connsiteY64" fmla="*/ 546894 h 1093788"/>
                    <a:gd name="connsiteX65" fmla="*/ 546894 w 1093788"/>
                    <a:gd name="connsiteY65" fmla="*/ 0 h 1093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093788" h="1093788">
                      <a:moveTo>
                        <a:pt x="546894" y="352425"/>
                      </a:moveTo>
                      <a:cubicBezTo>
                        <a:pt x="555474" y="352425"/>
                        <a:pt x="562623" y="359575"/>
                        <a:pt x="562623" y="368154"/>
                      </a:cubicBezTo>
                      <a:cubicBezTo>
                        <a:pt x="562623" y="376734"/>
                        <a:pt x="555474" y="383883"/>
                        <a:pt x="546894" y="383883"/>
                      </a:cubicBezTo>
                      <a:cubicBezTo>
                        <a:pt x="456809" y="383883"/>
                        <a:pt x="383883" y="456809"/>
                        <a:pt x="383883" y="546894"/>
                      </a:cubicBezTo>
                      <a:cubicBezTo>
                        <a:pt x="383883" y="636979"/>
                        <a:pt x="456809" y="709905"/>
                        <a:pt x="546894" y="709905"/>
                      </a:cubicBezTo>
                      <a:cubicBezTo>
                        <a:pt x="636979" y="709905"/>
                        <a:pt x="709905" y="636979"/>
                        <a:pt x="709905" y="546894"/>
                      </a:cubicBezTo>
                      <a:cubicBezTo>
                        <a:pt x="709905" y="538315"/>
                        <a:pt x="717055" y="531165"/>
                        <a:pt x="725634" y="531165"/>
                      </a:cubicBezTo>
                      <a:cubicBezTo>
                        <a:pt x="734214" y="531165"/>
                        <a:pt x="741363" y="538315"/>
                        <a:pt x="741363" y="546894"/>
                      </a:cubicBezTo>
                      <a:cubicBezTo>
                        <a:pt x="741363" y="654138"/>
                        <a:pt x="654138" y="741363"/>
                        <a:pt x="546894" y="741363"/>
                      </a:cubicBezTo>
                      <a:cubicBezTo>
                        <a:pt x="439650" y="741363"/>
                        <a:pt x="352425" y="654138"/>
                        <a:pt x="352425" y="546894"/>
                      </a:cubicBezTo>
                      <a:cubicBezTo>
                        <a:pt x="352425" y="439650"/>
                        <a:pt x="439650" y="352425"/>
                        <a:pt x="546894" y="352425"/>
                      </a:cubicBezTo>
                      <a:close/>
                      <a:moveTo>
                        <a:pt x="546894" y="0"/>
                      </a:moveTo>
                      <a:cubicBezTo>
                        <a:pt x="725384" y="0"/>
                        <a:pt x="893165" y="87817"/>
                        <a:pt x="995976" y="234179"/>
                      </a:cubicBezTo>
                      <a:cubicBezTo>
                        <a:pt x="1000259" y="241319"/>
                        <a:pt x="998831" y="251314"/>
                        <a:pt x="991692" y="256312"/>
                      </a:cubicBezTo>
                      <a:cubicBezTo>
                        <a:pt x="984552" y="261310"/>
                        <a:pt x="974557" y="259168"/>
                        <a:pt x="969559" y="252028"/>
                      </a:cubicBezTo>
                      <a:cubicBezTo>
                        <a:pt x="873174" y="114234"/>
                        <a:pt x="715389" y="31414"/>
                        <a:pt x="546894" y="31414"/>
                      </a:cubicBezTo>
                      <a:cubicBezTo>
                        <a:pt x="262737" y="31414"/>
                        <a:pt x="31414" y="262737"/>
                        <a:pt x="31414" y="546894"/>
                      </a:cubicBezTo>
                      <a:cubicBezTo>
                        <a:pt x="31414" y="699682"/>
                        <a:pt x="98526" y="837476"/>
                        <a:pt x="204907" y="931719"/>
                      </a:cubicBezTo>
                      <a:cubicBezTo>
                        <a:pt x="204907" y="931719"/>
                        <a:pt x="204907" y="931719"/>
                        <a:pt x="257026" y="874602"/>
                      </a:cubicBezTo>
                      <a:cubicBezTo>
                        <a:pt x="232037" y="852469"/>
                        <a:pt x="209904" y="827481"/>
                        <a:pt x="189913" y="800350"/>
                      </a:cubicBezTo>
                      <a:cubicBezTo>
                        <a:pt x="184916" y="793211"/>
                        <a:pt x="187057" y="783215"/>
                        <a:pt x="194197" y="778217"/>
                      </a:cubicBezTo>
                      <a:cubicBezTo>
                        <a:pt x="201337" y="773220"/>
                        <a:pt x="210618" y="774648"/>
                        <a:pt x="215616" y="781787"/>
                      </a:cubicBezTo>
                      <a:cubicBezTo>
                        <a:pt x="254884" y="837476"/>
                        <a:pt x="308431" y="882456"/>
                        <a:pt x="370546" y="912442"/>
                      </a:cubicBezTo>
                      <a:cubicBezTo>
                        <a:pt x="571883" y="1009541"/>
                        <a:pt x="814630" y="925293"/>
                        <a:pt x="912442" y="723242"/>
                      </a:cubicBezTo>
                      <a:cubicBezTo>
                        <a:pt x="1009541" y="521906"/>
                        <a:pt x="925293" y="279159"/>
                        <a:pt x="723243" y="181346"/>
                      </a:cubicBezTo>
                      <a:cubicBezTo>
                        <a:pt x="671837" y="156357"/>
                        <a:pt x="616862" y="143506"/>
                        <a:pt x="562601" y="141364"/>
                      </a:cubicBezTo>
                      <a:cubicBezTo>
                        <a:pt x="562601" y="141364"/>
                        <a:pt x="562601" y="141364"/>
                        <a:pt x="562601" y="227753"/>
                      </a:cubicBezTo>
                      <a:cubicBezTo>
                        <a:pt x="731810" y="236321"/>
                        <a:pt x="866035" y="376258"/>
                        <a:pt x="866035" y="546894"/>
                      </a:cubicBezTo>
                      <a:cubicBezTo>
                        <a:pt x="866035" y="647563"/>
                        <a:pt x="820341" y="740378"/>
                        <a:pt x="739664" y="801778"/>
                      </a:cubicBezTo>
                      <a:cubicBezTo>
                        <a:pt x="733238" y="806776"/>
                        <a:pt x="723243" y="805348"/>
                        <a:pt x="717531" y="798208"/>
                      </a:cubicBezTo>
                      <a:cubicBezTo>
                        <a:pt x="712533" y="791783"/>
                        <a:pt x="713961" y="781787"/>
                        <a:pt x="721101" y="776790"/>
                      </a:cubicBezTo>
                      <a:cubicBezTo>
                        <a:pt x="793211" y="721101"/>
                        <a:pt x="834620" y="637567"/>
                        <a:pt x="834620" y="546894"/>
                      </a:cubicBezTo>
                      <a:cubicBezTo>
                        <a:pt x="834620" y="388395"/>
                        <a:pt x="705394" y="259168"/>
                        <a:pt x="546894" y="259168"/>
                      </a:cubicBezTo>
                      <a:cubicBezTo>
                        <a:pt x="388395" y="259168"/>
                        <a:pt x="259168" y="388395"/>
                        <a:pt x="259168" y="546894"/>
                      </a:cubicBezTo>
                      <a:cubicBezTo>
                        <a:pt x="259168" y="705393"/>
                        <a:pt x="388395" y="834620"/>
                        <a:pt x="546894" y="834620"/>
                      </a:cubicBezTo>
                      <a:cubicBezTo>
                        <a:pt x="555462" y="834620"/>
                        <a:pt x="562601" y="841760"/>
                        <a:pt x="562601" y="850328"/>
                      </a:cubicBezTo>
                      <a:cubicBezTo>
                        <a:pt x="562601" y="859609"/>
                        <a:pt x="555462" y="866035"/>
                        <a:pt x="546894" y="866035"/>
                      </a:cubicBezTo>
                      <a:cubicBezTo>
                        <a:pt x="370546" y="866035"/>
                        <a:pt x="227753" y="723242"/>
                        <a:pt x="227753" y="546894"/>
                      </a:cubicBezTo>
                      <a:cubicBezTo>
                        <a:pt x="227753" y="376258"/>
                        <a:pt x="361978" y="236321"/>
                        <a:pt x="531187" y="227753"/>
                      </a:cubicBezTo>
                      <a:cubicBezTo>
                        <a:pt x="531187" y="227753"/>
                        <a:pt x="531187" y="227753"/>
                        <a:pt x="531187" y="141364"/>
                      </a:cubicBezTo>
                      <a:cubicBezTo>
                        <a:pt x="386253" y="147076"/>
                        <a:pt x="249172" y="230609"/>
                        <a:pt x="181346" y="370546"/>
                      </a:cubicBezTo>
                      <a:cubicBezTo>
                        <a:pt x="148504" y="439086"/>
                        <a:pt x="134938" y="514766"/>
                        <a:pt x="143506" y="590446"/>
                      </a:cubicBezTo>
                      <a:cubicBezTo>
                        <a:pt x="144220" y="599013"/>
                        <a:pt x="137794" y="606153"/>
                        <a:pt x="129227" y="607581"/>
                      </a:cubicBezTo>
                      <a:cubicBezTo>
                        <a:pt x="120659" y="608295"/>
                        <a:pt x="112806" y="601869"/>
                        <a:pt x="112092" y="593302"/>
                      </a:cubicBezTo>
                      <a:cubicBezTo>
                        <a:pt x="103524" y="512624"/>
                        <a:pt x="117803" y="430519"/>
                        <a:pt x="153501" y="356267"/>
                      </a:cubicBezTo>
                      <a:cubicBezTo>
                        <a:pt x="228467" y="201337"/>
                        <a:pt x="384111" y="110664"/>
                        <a:pt x="545466" y="109950"/>
                      </a:cubicBezTo>
                      <a:cubicBezTo>
                        <a:pt x="546180" y="109950"/>
                        <a:pt x="546180" y="109236"/>
                        <a:pt x="546894" y="109236"/>
                      </a:cubicBezTo>
                      <a:cubicBezTo>
                        <a:pt x="546894" y="109236"/>
                        <a:pt x="547608" y="109950"/>
                        <a:pt x="547608" y="109950"/>
                      </a:cubicBezTo>
                      <a:cubicBezTo>
                        <a:pt x="611151" y="109950"/>
                        <a:pt x="676121" y="123515"/>
                        <a:pt x="737522" y="153501"/>
                      </a:cubicBezTo>
                      <a:cubicBezTo>
                        <a:pt x="954566" y="258454"/>
                        <a:pt x="1045239" y="520478"/>
                        <a:pt x="940287" y="737522"/>
                      </a:cubicBezTo>
                      <a:cubicBezTo>
                        <a:pt x="865321" y="893165"/>
                        <a:pt x="708963" y="983838"/>
                        <a:pt x="546180" y="983838"/>
                      </a:cubicBezTo>
                      <a:cubicBezTo>
                        <a:pt x="482638" y="983838"/>
                        <a:pt x="417667" y="970273"/>
                        <a:pt x="356267" y="940287"/>
                      </a:cubicBezTo>
                      <a:cubicBezTo>
                        <a:pt x="329850" y="927435"/>
                        <a:pt x="304861" y="912442"/>
                        <a:pt x="281300" y="894593"/>
                      </a:cubicBezTo>
                      <a:cubicBezTo>
                        <a:pt x="281300" y="894593"/>
                        <a:pt x="281300" y="894593"/>
                        <a:pt x="228467" y="952424"/>
                      </a:cubicBezTo>
                      <a:cubicBezTo>
                        <a:pt x="316284" y="1020964"/>
                        <a:pt x="426949" y="1062374"/>
                        <a:pt x="546894" y="1062374"/>
                      </a:cubicBezTo>
                      <a:cubicBezTo>
                        <a:pt x="831051" y="1062374"/>
                        <a:pt x="1062374" y="831051"/>
                        <a:pt x="1062374" y="546894"/>
                      </a:cubicBezTo>
                      <a:cubicBezTo>
                        <a:pt x="1062374" y="503343"/>
                        <a:pt x="1056662" y="460505"/>
                        <a:pt x="1046667" y="419095"/>
                      </a:cubicBezTo>
                      <a:cubicBezTo>
                        <a:pt x="1044525" y="410528"/>
                        <a:pt x="1049523" y="401960"/>
                        <a:pt x="1058090" y="399818"/>
                      </a:cubicBezTo>
                      <a:cubicBezTo>
                        <a:pt x="1065944" y="397676"/>
                        <a:pt x="1074511" y="402674"/>
                        <a:pt x="1076653" y="411242"/>
                      </a:cubicBezTo>
                      <a:cubicBezTo>
                        <a:pt x="1088077" y="455507"/>
                        <a:pt x="1093788" y="501201"/>
                        <a:pt x="1093788" y="546894"/>
                      </a:cubicBezTo>
                      <a:cubicBezTo>
                        <a:pt x="1093788" y="848186"/>
                        <a:pt x="848186" y="1093788"/>
                        <a:pt x="546894" y="1093788"/>
                      </a:cubicBezTo>
                      <a:cubicBezTo>
                        <a:pt x="414098" y="1093788"/>
                        <a:pt x="292724" y="1046667"/>
                        <a:pt x="197767" y="967417"/>
                      </a:cubicBezTo>
                      <a:cubicBezTo>
                        <a:pt x="197053" y="967417"/>
                        <a:pt x="196339" y="966703"/>
                        <a:pt x="194911" y="965989"/>
                      </a:cubicBezTo>
                      <a:cubicBezTo>
                        <a:pt x="194911" y="965275"/>
                        <a:pt x="194197" y="964561"/>
                        <a:pt x="194197" y="964561"/>
                      </a:cubicBezTo>
                      <a:cubicBezTo>
                        <a:pt x="75680" y="863893"/>
                        <a:pt x="0" y="713961"/>
                        <a:pt x="0" y="546894"/>
                      </a:cubicBezTo>
                      <a:cubicBezTo>
                        <a:pt x="0" y="245602"/>
                        <a:pt x="245602" y="0"/>
                        <a:pt x="546894" y="0"/>
                      </a:cubicBezTo>
                      <a:close/>
                    </a:path>
                  </a:pathLst>
                </a:custGeom>
                <a:solidFill>
                  <a:srgbClr val="051934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Oval 7"/>
                <p:cNvSpPr>
                  <a:spLocks noChangeArrowheads="1"/>
                </p:cNvSpPr>
                <p:nvPr/>
              </p:nvSpPr>
              <p:spPr bwMode="auto">
                <a:xfrm>
                  <a:off x="6015038" y="3311526"/>
                  <a:ext cx="160338" cy="160338"/>
                </a:xfrm>
                <a:prstGeom prst="ellipse">
                  <a:avLst/>
                </a:prstGeom>
                <a:solidFill>
                  <a:srgbClr val="0A3774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EC63169-480E-45DD-A9B2-5786F490D5C9}"/>
              </a:ext>
            </a:extLst>
          </p:cNvPr>
          <p:cNvGrpSpPr/>
          <p:nvPr/>
        </p:nvGrpSpPr>
        <p:grpSpPr>
          <a:xfrm>
            <a:off x="4404039" y="3266299"/>
            <a:ext cx="7426009" cy="755198"/>
            <a:chOff x="4404039" y="3171390"/>
            <a:chExt cx="7426009" cy="75519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965E89D-FF56-4550-B40C-54EB9EF99C47}"/>
                </a:ext>
              </a:extLst>
            </p:cNvPr>
            <p:cNvSpPr/>
            <p:nvPr/>
          </p:nvSpPr>
          <p:spPr>
            <a:xfrm>
              <a:off x="5279011" y="3425878"/>
              <a:ext cx="2190529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ipo</a:t>
              </a:r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acto</a:t>
              </a:r>
              <a:endParaRPr lang="en-US" sz="1600" b="1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5C0070F-479B-4514-90F5-88A9218CA7E0}"/>
                </a:ext>
              </a:extLst>
            </p:cNvPr>
            <p:cNvSpPr/>
            <p:nvPr/>
          </p:nvSpPr>
          <p:spPr>
            <a:xfrm>
              <a:off x="8229599" y="3302767"/>
              <a:ext cx="3600449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posición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a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ota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superficies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partida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bjeto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unes</a:t>
              </a: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A2AF982-0948-49B0-963A-3E3519F1DBC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96114" y="3395534"/>
              <a:ext cx="306910" cy="306910"/>
              <a:chOff x="982662" y="1847850"/>
              <a:chExt cx="269875" cy="269875"/>
            </a:xfrm>
          </p:grpSpPr>
          <p:sp>
            <p:nvSpPr>
              <p:cNvPr id="21" name="Oval 50">
                <a:extLst>
                  <a:ext uri="{FF2B5EF4-FFF2-40B4-BE49-F238E27FC236}">
                    <a16:creationId xmlns:a16="http://schemas.microsoft.com/office/drawing/2014/main" id="{C9C24667-E031-4A9B-8707-85156B764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rgbClr val="051934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Freeform 51">
                <a:extLst>
                  <a:ext uri="{FF2B5EF4-FFF2-40B4-BE49-F238E27FC236}">
                    <a16:creationId xmlns:a16="http://schemas.microsoft.com/office/drawing/2014/main" id="{DA347234-4692-4425-BDA0-AC138B082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4404039" y="3171390"/>
              <a:ext cx="755201" cy="755198"/>
              <a:chOff x="8156575" y="-1843088"/>
              <a:chExt cx="6848475" cy="6858001"/>
            </a:xfrm>
          </p:grpSpPr>
          <p:sp>
            <p:nvSpPr>
              <p:cNvPr id="49" name="AutoShape 59"/>
              <p:cNvSpPr>
                <a:spLocks noChangeAspect="1" noChangeArrowheads="1" noTextEdit="1"/>
              </p:cNvSpPr>
              <p:nvPr/>
            </p:nvSpPr>
            <p:spPr bwMode="auto">
              <a:xfrm>
                <a:off x="8156575" y="-1843088"/>
                <a:ext cx="6848475" cy="68580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61"/>
              <p:cNvSpPr>
                <a:spLocks noEditPoints="1"/>
              </p:cNvSpPr>
              <p:nvPr/>
            </p:nvSpPr>
            <p:spPr bwMode="auto">
              <a:xfrm>
                <a:off x="8602664" y="920749"/>
                <a:ext cx="5635625" cy="2935290"/>
              </a:xfrm>
              <a:custGeom>
                <a:avLst/>
                <a:gdLst>
                  <a:gd name="T0" fmla="*/ 634 w 1896"/>
                  <a:gd name="T1" fmla="*/ 740 h 987"/>
                  <a:gd name="T2" fmla="*/ 634 w 1896"/>
                  <a:gd name="T3" fmla="*/ 910 h 987"/>
                  <a:gd name="T4" fmla="*/ 623 w 1896"/>
                  <a:gd name="T5" fmla="*/ 929 h 987"/>
                  <a:gd name="T6" fmla="*/ 350 w 1896"/>
                  <a:gd name="T7" fmla="*/ 987 h 987"/>
                  <a:gd name="T8" fmla="*/ 323 w 1896"/>
                  <a:gd name="T9" fmla="*/ 987 h 987"/>
                  <a:gd name="T10" fmla="*/ 302 w 1896"/>
                  <a:gd name="T11" fmla="*/ 965 h 987"/>
                  <a:gd name="T12" fmla="*/ 302 w 1896"/>
                  <a:gd name="T13" fmla="*/ 805 h 987"/>
                  <a:gd name="T14" fmla="*/ 238 w 1896"/>
                  <a:gd name="T15" fmla="*/ 808 h 987"/>
                  <a:gd name="T16" fmla="*/ 120 w 1896"/>
                  <a:gd name="T17" fmla="*/ 786 h 987"/>
                  <a:gd name="T18" fmla="*/ 99 w 1896"/>
                  <a:gd name="T19" fmla="*/ 663 h 987"/>
                  <a:gd name="T20" fmla="*/ 100 w 1896"/>
                  <a:gd name="T21" fmla="*/ 598 h 987"/>
                  <a:gd name="T22" fmla="*/ 13 w 1896"/>
                  <a:gd name="T23" fmla="*/ 555 h 987"/>
                  <a:gd name="T24" fmla="*/ 49 w 1896"/>
                  <a:gd name="T25" fmla="*/ 475 h 987"/>
                  <a:gd name="T26" fmla="*/ 89 w 1896"/>
                  <a:gd name="T27" fmla="*/ 411 h 987"/>
                  <a:gd name="T28" fmla="*/ 93 w 1896"/>
                  <a:gd name="T29" fmla="*/ 353 h 987"/>
                  <a:gd name="T30" fmla="*/ 95 w 1896"/>
                  <a:gd name="T31" fmla="*/ 315 h 987"/>
                  <a:gd name="T32" fmla="*/ 99 w 1896"/>
                  <a:gd name="T33" fmla="*/ 283 h 987"/>
                  <a:gd name="T34" fmla="*/ 138 w 1896"/>
                  <a:gd name="T35" fmla="*/ 320 h 987"/>
                  <a:gd name="T36" fmla="*/ 137 w 1896"/>
                  <a:gd name="T37" fmla="*/ 354 h 987"/>
                  <a:gd name="T38" fmla="*/ 129 w 1896"/>
                  <a:gd name="T39" fmla="*/ 428 h 987"/>
                  <a:gd name="T40" fmla="*/ 80 w 1896"/>
                  <a:gd name="T41" fmla="*/ 506 h 987"/>
                  <a:gd name="T42" fmla="*/ 56 w 1896"/>
                  <a:gd name="T43" fmla="*/ 540 h 987"/>
                  <a:gd name="T44" fmla="*/ 121 w 1896"/>
                  <a:gd name="T45" fmla="*/ 554 h 987"/>
                  <a:gd name="T46" fmla="*/ 139 w 1896"/>
                  <a:gd name="T47" fmla="*/ 560 h 987"/>
                  <a:gd name="T48" fmla="*/ 146 w 1896"/>
                  <a:gd name="T49" fmla="*/ 577 h 987"/>
                  <a:gd name="T50" fmla="*/ 152 w 1896"/>
                  <a:gd name="T51" fmla="*/ 755 h 987"/>
                  <a:gd name="T52" fmla="*/ 319 w 1896"/>
                  <a:gd name="T53" fmla="*/ 759 h 987"/>
                  <a:gd name="T54" fmla="*/ 336 w 1896"/>
                  <a:gd name="T55" fmla="*/ 762 h 987"/>
                  <a:gd name="T56" fmla="*/ 346 w 1896"/>
                  <a:gd name="T57" fmla="*/ 781 h 987"/>
                  <a:gd name="T58" fmla="*/ 346 w 1896"/>
                  <a:gd name="T59" fmla="*/ 943 h 987"/>
                  <a:gd name="T60" fmla="*/ 590 w 1896"/>
                  <a:gd name="T61" fmla="*/ 898 h 987"/>
                  <a:gd name="T62" fmla="*/ 590 w 1896"/>
                  <a:gd name="T63" fmla="*/ 765 h 987"/>
                  <a:gd name="T64" fmla="*/ 634 w 1896"/>
                  <a:gd name="T65" fmla="*/ 740 h 987"/>
                  <a:gd name="T66" fmla="*/ 1895 w 1896"/>
                  <a:gd name="T67" fmla="*/ 179 h 987"/>
                  <a:gd name="T68" fmla="*/ 1861 w 1896"/>
                  <a:gd name="T69" fmla="*/ 254 h 987"/>
                  <a:gd name="T70" fmla="*/ 1861 w 1896"/>
                  <a:gd name="T71" fmla="*/ 254 h 987"/>
                  <a:gd name="T72" fmla="*/ 1650 w 1896"/>
                  <a:gd name="T73" fmla="*/ 414 h 987"/>
                  <a:gd name="T74" fmla="*/ 1645 w 1896"/>
                  <a:gd name="T75" fmla="*/ 405 h 987"/>
                  <a:gd name="T76" fmla="*/ 1685 w 1896"/>
                  <a:gd name="T77" fmla="*/ 366 h 987"/>
                  <a:gd name="T78" fmla="*/ 1426 w 1896"/>
                  <a:gd name="T79" fmla="*/ 442 h 987"/>
                  <a:gd name="T80" fmla="*/ 1420 w 1896"/>
                  <a:gd name="T81" fmla="*/ 722 h 987"/>
                  <a:gd name="T82" fmla="*/ 1237 w 1896"/>
                  <a:gd name="T83" fmla="*/ 193 h 987"/>
                  <a:gd name="T84" fmla="*/ 1602 w 1896"/>
                  <a:gd name="T85" fmla="*/ 11 h 987"/>
                  <a:gd name="T86" fmla="*/ 1895 w 1896"/>
                  <a:gd name="T87" fmla="*/ 173 h 987"/>
                  <a:gd name="T88" fmla="*/ 1895 w 1896"/>
                  <a:gd name="T89" fmla="*/ 179 h 987"/>
                  <a:gd name="T90" fmla="*/ 1895 w 1896"/>
                  <a:gd name="T91" fmla="*/ 179 h 9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96" h="987">
                    <a:moveTo>
                      <a:pt x="634" y="740"/>
                    </a:moveTo>
                    <a:cubicBezTo>
                      <a:pt x="634" y="910"/>
                      <a:pt x="634" y="910"/>
                      <a:pt x="634" y="910"/>
                    </a:cubicBezTo>
                    <a:cubicBezTo>
                      <a:pt x="634" y="918"/>
                      <a:pt x="630" y="925"/>
                      <a:pt x="623" y="929"/>
                    </a:cubicBezTo>
                    <a:cubicBezTo>
                      <a:pt x="538" y="981"/>
                      <a:pt x="406" y="987"/>
                      <a:pt x="350" y="987"/>
                    </a:cubicBezTo>
                    <a:cubicBezTo>
                      <a:pt x="335" y="987"/>
                      <a:pt x="325" y="987"/>
                      <a:pt x="323" y="987"/>
                    </a:cubicBezTo>
                    <a:cubicBezTo>
                      <a:pt x="311" y="986"/>
                      <a:pt x="302" y="976"/>
                      <a:pt x="302" y="965"/>
                    </a:cubicBezTo>
                    <a:cubicBezTo>
                      <a:pt x="302" y="805"/>
                      <a:pt x="302" y="805"/>
                      <a:pt x="302" y="805"/>
                    </a:cubicBezTo>
                    <a:cubicBezTo>
                      <a:pt x="280" y="807"/>
                      <a:pt x="252" y="808"/>
                      <a:pt x="238" y="808"/>
                    </a:cubicBezTo>
                    <a:cubicBezTo>
                      <a:pt x="154" y="808"/>
                      <a:pt x="131" y="796"/>
                      <a:pt x="120" y="786"/>
                    </a:cubicBezTo>
                    <a:cubicBezTo>
                      <a:pt x="109" y="774"/>
                      <a:pt x="98" y="751"/>
                      <a:pt x="99" y="663"/>
                    </a:cubicBezTo>
                    <a:cubicBezTo>
                      <a:pt x="99" y="639"/>
                      <a:pt x="99" y="615"/>
                      <a:pt x="100" y="598"/>
                    </a:cubicBezTo>
                    <a:cubicBezTo>
                      <a:pt x="46" y="597"/>
                      <a:pt x="20" y="571"/>
                      <a:pt x="13" y="555"/>
                    </a:cubicBezTo>
                    <a:cubicBezTo>
                      <a:pt x="0" y="525"/>
                      <a:pt x="44" y="480"/>
                      <a:pt x="49" y="475"/>
                    </a:cubicBezTo>
                    <a:cubicBezTo>
                      <a:pt x="66" y="458"/>
                      <a:pt x="81" y="431"/>
                      <a:pt x="89" y="411"/>
                    </a:cubicBezTo>
                    <a:cubicBezTo>
                      <a:pt x="92" y="403"/>
                      <a:pt x="92" y="372"/>
                      <a:pt x="93" y="353"/>
                    </a:cubicBezTo>
                    <a:cubicBezTo>
                      <a:pt x="93" y="339"/>
                      <a:pt x="94" y="325"/>
                      <a:pt x="95" y="315"/>
                    </a:cubicBezTo>
                    <a:cubicBezTo>
                      <a:pt x="95" y="306"/>
                      <a:pt x="97" y="294"/>
                      <a:pt x="99" y="283"/>
                    </a:cubicBezTo>
                    <a:cubicBezTo>
                      <a:pt x="110" y="295"/>
                      <a:pt x="123" y="308"/>
                      <a:pt x="138" y="320"/>
                    </a:cubicBezTo>
                    <a:cubicBezTo>
                      <a:pt x="138" y="329"/>
                      <a:pt x="137" y="341"/>
                      <a:pt x="137" y="354"/>
                    </a:cubicBezTo>
                    <a:cubicBezTo>
                      <a:pt x="136" y="391"/>
                      <a:pt x="135" y="414"/>
                      <a:pt x="129" y="428"/>
                    </a:cubicBezTo>
                    <a:cubicBezTo>
                      <a:pt x="125" y="439"/>
                      <a:pt x="107" y="478"/>
                      <a:pt x="80" y="506"/>
                    </a:cubicBezTo>
                    <a:cubicBezTo>
                      <a:pt x="66" y="520"/>
                      <a:pt x="58" y="533"/>
                      <a:pt x="56" y="540"/>
                    </a:cubicBezTo>
                    <a:cubicBezTo>
                      <a:pt x="63" y="547"/>
                      <a:pt x="83" y="558"/>
                      <a:pt x="121" y="554"/>
                    </a:cubicBezTo>
                    <a:cubicBezTo>
                      <a:pt x="128" y="553"/>
                      <a:pt x="134" y="555"/>
                      <a:pt x="139" y="560"/>
                    </a:cubicBezTo>
                    <a:cubicBezTo>
                      <a:pt x="144" y="564"/>
                      <a:pt x="146" y="571"/>
                      <a:pt x="146" y="577"/>
                    </a:cubicBezTo>
                    <a:cubicBezTo>
                      <a:pt x="139" y="659"/>
                      <a:pt x="142" y="740"/>
                      <a:pt x="152" y="755"/>
                    </a:cubicBezTo>
                    <a:cubicBezTo>
                      <a:pt x="172" y="769"/>
                      <a:pt x="294" y="763"/>
                      <a:pt x="319" y="759"/>
                    </a:cubicBezTo>
                    <a:cubicBezTo>
                      <a:pt x="325" y="758"/>
                      <a:pt x="331" y="759"/>
                      <a:pt x="336" y="762"/>
                    </a:cubicBezTo>
                    <a:cubicBezTo>
                      <a:pt x="343" y="766"/>
                      <a:pt x="346" y="773"/>
                      <a:pt x="346" y="781"/>
                    </a:cubicBezTo>
                    <a:cubicBezTo>
                      <a:pt x="346" y="943"/>
                      <a:pt x="346" y="943"/>
                      <a:pt x="346" y="943"/>
                    </a:cubicBezTo>
                    <a:cubicBezTo>
                      <a:pt x="393" y="943"/>
                      <a:pt x="512" y="939"/>
                      <a:pt x="590" y="898"/>
                    </a:cubicBezTo>
                    <a:cubicBezTo>
                      <a:pt x="590" y="765"/>
                      <a:pt x="590" y="765"/>
                      <a:pt x="590" y="765"/>
                    </a:cubicBezTo>
                    <a:cubicBezTo>
                      <a:pt x="600" y="762"/>
                      <a:pt x="614" y="756"/>
                      <a:pt x="634" y="740"/>
                    </a:cubicBezTo>
                    <a:close/>
                    <a:moveTo>
                      <a:pt x="1895" y="179"/>
                    </a:moveTo>
                    <a:cubicBezTo>
                      <a:pt x="1893" y="206"/>
                      <a:pt x="1881" y="231"/>
                      <a:pt x="1861" y="254"/>
                    </a:cubicBezTo>
                    <a:cubicBezTo>
                      <a:pt x="1861" y="254"/>
                      <a:pt x="1861" y="254"/>
                      <a:pt x="1861" y="254"/>
                    </a:cubicBezTo>
                    <a:cubicBezTo>
                      <a:pt x="1829" y="298"/>
                      <a:pt x="1713" y="381"/>
                      <a:pt x="1650" y="414"/>
                    </a:cubicBezTo>
                    <a:cubicBezTo>
                      <a:pt x="1644" y="416"/>
                      <a:pt x="1640" y="409"/>
                      <a:pt x="1645" y="405"/>
                    </a:cubicBezTo>
                    <a:cubicBezTo>
                      <a:pt x="1664" y="390"/>
                      <a:pt x="1677" y="377"/>
                      <a:pt x="1685" y="366"/>
                    </a:cubicBezTo>
                    <a:cubicBezTo>
                      <a:pt x="1560" y="417"/>
                      <a:pt x="1426" y="442"/>
                      <a:pt x="1426" y="442"/>
                    </a:cubicBezTo>
                    <a:cubicBezTo>
                      <a:pt x="1313" y="554"/>
                      <a:pt x="1454" y="707"/>
                      <a:pt x="1420" y="722"/>
                    </a:cubicBezTo>
                    <a:cubicBezTo>
                      <a:pt x="1396" y="733"/>
                      <a:pt x="1095" y="467"/>
                      <a:pt x="1237" y="193"/>
                    </a:cubicBezTo>
                    <a:cubicBezTo>
                      <a:pt x="1288" y="94"/>
                      <a:pt x="1412" y="0"/>
                      <a:pt x="1602" y="11"/>
                    </a:cubicBezTo>
                    <a:cubicBezTo>
                      <a:pt x="1819" y="25"/>
                      <a:pt x="1896" y="124"/>
                      <a:pt x="1895" y="173"/>
                    </a:cubicBezTo>
                    <a:cubicBezTo>
                      <a:pt x="1895" y="179"/>
                      <a:pt x="1895" y="179"/>
                      <a:pt x="1895" y="179"/>
                    </a:cubicBezTo>
                    <a:cubicBezTo>
                      <a:pt x="1895" y="179"/>
                      <a:pt x="1895" y="179"/>
                      <a:pt x="1895" y="17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62"/>
              <p:cNvSpPr>
                <a:spLocks noEditPoints="1"/>
              </p:cNvSpPr>
              <p:nvPr/>
            </p:nvSpPr>
            <p:spPr bwMode="auto">
              <a:xfrm>
                <a:off x="8893177" y="77789"/>
                <a:ext cx="5638802" cy="3778250"/>
              </a:xfrm>
              <a:custGeom>
                <a:avLst/>
                <a:gdLst>
                  <a:gd name="T0" fmla="*/ 1805 w 1897"/>
                  <a:gd name="T1" fmla="*/ 637 h 1271"/>
                  <a:gd name="T2" fmla="*/ 1798 w 1897"/>
                  <a:gd name="T3" fmla="*/ 567 h 1271"/>
                  <a:gd name="T4" fmla="*/ 1761 w 1897"/>
                  <a:gd name="T5" fmla="*/ 638 h 1271"/>
                  <a:gd name="T6" fmla="*/ 1818 w 1897"/>
                  <a:gd name="T7" fmla="*/ 790 h 1271"/>
                  <a:gd name="T8" fmla="*/ 1776 w 1897"/>
                  <a:gd name="T9" fmla="*/ 838 h 1271"/>
                  <a:gd name="T10" fmla="*/ 1752 w 1897"/>
                  <a:gd name="T11" fmla="*/ 861 h 1271"/>
                  <a:gd name="T12" fmla="*/ 1579 w 1897"/>
                  <a:gd name="T13" fmla="*/ 1043 h 1271"/>
                  <a:gd name="T14" fmla="*/ 1550 w 1897"/>
                  <a:gd name="T15" fmla="*/ 1065 h 1271"/>
                  <a:gd name="T16" fmla="*/ 1307 w 1897"/>
                  <a:gd name="T17" fmla="*/ 1182 h 1271"/>
                  <a:gd name="T18" fmla="*/ 1263 w 1897"/>
                  <a:gd name="T19" fmla="*/ 1024 h 1271"/>
                  <a:gd name="T20" fmla="*/ 1274 w 1897"/>
                  <a:gd name="T21" fmla="*/ 1213 h 1271"/>
                  <a:gd name="T22" fmla="*/ 1574 w 1897"/>
                  <a:gd name="T23" fmla="*/ 1271 h 1271"/>
                  <a:gd name="T24" fmla="*/ 1595 w 1897"/>
                  <a:gd name="T25" fmla="*/ 1089 h 1271"/>
                  <a:gd name="T26" fmla="*/ 1777 w 1897"/>
                  <a:gd name="T27" fmla="*/ 1070 h 1271"/>
                  <a:gd name="T28" fmla="*/ 1797 w 1897"/>
                  <a:gd name="T29" fmla="*/ 882 h 1271"/>
                  <a:gd name="T30" fmla="*/ 1849 w 1897"/>
                  <a:gd name="T31" fmla="*/ 759 h 1271"/>
                  <a:gd name="T32" fmla="*/ 658 w 1897"/>
                  <a:gd name="T33" fmla="*/ 477 h 1271"/>
                  <a:gd name="T34" fmla="*/ 1 w 1897"/>
                  <a:gd name="T35" fmla="*/ 457 h 1271"/>
                  <a:gd name="T36" fmla="*/ 35 w 1897"/>
                  <a:gd name="T37" fmla="*/ 538 h 1271"/>
                  <a:gd name="T38" fmla="*/ 251 w 1897"/>
                  <a:gd name="T39" fmla="*/ 689 h 1271"/>
                  <a:gd name="T40" fmla="*/ 470 w 1897"/>
                  <a:gd name="T41" fmla="*/ 726 h 1271"/>
                  <a:gd name="T42" fmla="*/ 658 w 1897"/>
                  <a:gd name="T43" fmla="*/ 477 h 1271"/>
                  <a:gd name="T44" fmla="*/ 1272 w 1897"/>
                  <a:gd name="T45" fmla="*/ 95 h 1271"/>
                  <a:gd name="T46" fmla="*/ 1217 w 1897"/>
                  <a:gd name="T47" fmla="*/ 9 h 1271"/>
                  <a:gd name="T48" fmla="*/ 1186 w 1897"/>
                  <a:gd name="T49" fmla="*/ 40 h 1271"/>
                  <a:gd name="T50" fmla="*/ 603 w 1897"/>
                  <a:gd name="T51" fmla="*/ 57 h 1271"/>
                  <a:gd name="T52" fmla="*/ 621 w 1897"/>
                  <a:gd name="T53" fmla="*/ 9 h 1271"/>
                  <a:gd name="T54" fmla="*/ 537 w 1897"/>
                  <a:gd name="T55" fmla="*/ 62 h 1271"/>
                  <a:gd name="T56" fmla="*/ 537 w 1897"/>
                  <a:gd name="T57" fmla="*/ 97 h 1271"/>
                  <a:gd name="T58" fmla="*/ 605 w 1897"/>
                  <a:gd name="T59" fmla="*/ 156 h 1271"/>
                  <a:gd name="T60" fmla="*/ 621 w 1897"/>
                  <a:gd name="T61" fmla="*/ 119 h 1271"/>
                  <a:gd name="T62" fmla="*/ 1203 w 1897"/>
                  <a:gd name="T63" fmla="*/ 101 h 1271"/>
                  <a:gd name="T64" fmla="*/ 1186 w 1897"/>
                  <a:gd name="T65" fmla="*/ 150 h 1271"/>
                  <a:gd name="T66" fmla="*/ 1217 w 1897"/>
                  <a:gd name="T67" fmla="*/ 150 h 1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97" h="1271">
                    <a:moveTo>
                      <a:pt x="1809" y="695"/>
                    </a:moveTo>
                    <a:cubicBezTo>
                      <a:pt x="1806" y="687"/>
                      <a:pt x="1805" y="656"/>
                      <a:pt x="1805" y="637"/>
                    </a:cubicBezTo>
                    <a:cubicBezTo>
                      <a:pt x="1804" y="623"/>
                      <a:pt x="1804" y="609"/>
                      <a:pt x="1803" y="599"/>
                    </a:cubicBezTo>
                    <a:cubicBezTo>
                      <a:pt x="1802" y="590"/>
                      <a:pt x="1801" y="578"/>
                      <a:pt x="1798" y="567"/>
                    </a:cubicBezTo>
                    <a:cubicBezTo>
                      <a:pt x="1787" y="579"/>
                      <a:pt x="1774" y="592"/>
                      <a:pt x="1759" y="604"/>
                    </a:cubicBezTo>
                    <a:cubicBezTo>
                      <a:pt x="1760" y="613"/>
                      <a:pt x="1760" y="625"/>
                      <a:pt x="1761" y="638"/>
                    </a:cubicBezTo>
                    <a:cubicBezTo>
                      <a:pt x="1762" y="675"/>
                      <a:pt x="1763" y="698"/>
                      <a:pt x="1768" y="712"/>
                    </a:cubicBezTo>
                    <a:cubicBezTo>
                      <a:pt x="1773" y="723"/>
                      <a:pt x="1790" y="762"/>
                      <a:pt x="1818" y="790"/>
                    </a:cubicBezTo>
                    <a:cubicBezTo>
                      <a:pt x="1831" y="804"/>
                      <a:pt x="1839" y="817"/>
                      <a:pt x="1842" y="824"/>
                    </a:cubicBezTo>
                    <a:cubicBezTo>
                      <a:pt x="1835" y="831"/>
                      <a:pt x="1815" y="842"/>
                      <a:pt x="1776" y="838"/>
                    </a:cubicBezTo>
                    <a:cubicBezTo>
                      <a:pt x="1770" y="837"/>
                      <a:pt x="1763" y="839"/>
                      <a:pt x="1758" y="844"/>
                    </a:cubicBezTo>
                    <a:cubicBezTo>
                      <a:pt x="1754" y="848"/>
                      <a:pt x="1751" y="855"/>
                      <a:pt x="1752" y="861"/>
                    </a:cubicBezTo>
                    <a:cubicBezTo>
                      <a:pt x="1757" y="934"/>
                      <a:pt x="1756" y="1023"/>
                      <a:pt x="1746" y="1039"/>
                    </a:cubicBezTo>
                    <a:cubicBezTo>
                      <a:pt x="1726" y="1053"/>
                      <a:pt x="1603" y="1047"/>
                      <a:pt x="1579" y="1043"/>
                    </a:cubicBezTo>
                    <a:cubicBezTo>
                      <a:pt x="1573" y="1042"/>
                      <a:pt x="1565" y="1043"/>
                      <a:pt x="1560" y="1046"/>
                    </a:cubicBezTo>
                    <a:cubicBezTo>
                      <a:pt x="1554" y="1050"/>
                      <a:pt x="1550" y="1057"/>
                      <a:pt x="1550" y="1065"/>
                    </a:cubicBezTo>
                    <a:cubicBezTo>
                      <a:pt x="1550" y="1227"/>
                      <a:pt x="1550" y="1227"/>
                      <a:pt x="1550" y="1227"/>
                    </a:cubicBezTo>
                    <a:cubicBezTo>
                      <a:pt x="1503" y="1227"/>
                      <a:pt x="1386" y="1223"/>
                      <a:pt x="1307" y="1182"/>
                    </a:cubicBezTo>
                    <a:cubicBezTo>
                      <a:pt x="1307" y="1049"/>
                      <a:pt x="1307" y="1049"/>
                      <a:pt x="1307" y="1049"/>
                    </a:cubicBezTo>
                    <a:cubicBezTo>
                      <a:pt x="1298" y="1046"/>
                      <a:pt x="1284" y="1040"/>
                      <a:pt x="1263" y="1024"/>
                    </a:cubicBezTo>
                    <a:cubicBezTo>
                      <a:pt x="1263" y="1194"/>
                      <a:pt x="1263" y="1194"/>
                      <a:pt x="1263" y="1194"/>
                    </a:cubicBezTo>
                    <a:cubicBezTo>
                      <a:pt x="1263" y="1202"/>
                      <a:pt x="1268" y="1209"/>
                      <a:pt x="1274" y="1213"/>
                    </a:cubicBezTo>
                    <a:cubicBezTo>
                      <a:pt x="1360" y="1265"/>
                      <a:pt x="1490" y="1271"/>
                      <a:pt x="1546" y="1271"/>
                    </a:cubicBezTo>
                    <a:cubicBezTo>
                      <a:pt x="1574" y="1271"/>
                      <a:pt x="1574" y="1271"/>
                      <a:pt x="1574" y="1271"/>
                    </a:cubicBezTo>
                    <a:cubicBezTo>
                      <a:pt x="1586" y="1270"/>
                      <a:pt x="1595" y="1260"/>
                      <a:pt x="1595" y="1249"/>
                    </a:cubicBezTo>
                    <a:cubicBezTo>
                      <a:pt x="1595" y="1089"/>
                      <a:pt x="1595" y="1089"/>
                      <a:pt x="1595" y="1089"/>
                    </a:cubicBezTo>
                    <a:cubicBezTo>
                      <a:pt x="1618" y="1091"/>
                      <a:pt x="1646" y="1092"/>
                      <a:pt x="1659" y="1092"/>
                    </a:cubicBezTo>
                    <a:cubicBezTo>
                      <a:pt x="1744" y="1093"/>
                      <a:pt x="1767" y="1080"/>
                      <a:pt x="1777" y="1070"/>
                    </a:cubicBezTo>
                    <a:cubicBezTo>
                      <a:pt x="1788" y="1058"/>
                      <a:pt x="1799" y="1035"/>
                      <a:pt x="1799" y="947"/>
                    </a:cubicBezTo>
                    <a:cubicBezTo>
                      <a:pt x="1799" y="923"/>
                      <a:pt x="1798" y="899"/>
                      <a:pt x="1797" y="882"/>
                    </a:cubicBezTo>
                    <a:cubicBezTo>
                      <a:pt x="1851" y="881"/>
                      <a:pt x="1878" y="855"/>
                      <a:pt x="1884" y="839"/>
                    </a:cubicBezTo>
                    <a:cubicBezTo>
                      <a:pt x="1897" y="809"/>
                      <a:pt x="1854" y="764"/>
                      <a:pt x="1849" y="759"/>
                    </a:cubicBezTo>
                    <a:cubicBezTo>
                      <a:pt x="1832" y="742"/>
                      <a:pt x="1817" y="715"/>
                      <a:pt x="1809" y="695"/>
                    </a:cubicBezTo>
                    <a:close/>
                    <a:moveTo>
                      <a:pt x="658" y="477"/>
                    </a:moveTo>
                    <a:cubicBezTo>
                      <a:pt x="608" y="379"/>
                      <a:pt x="484" y="285"/>
                      <a:pt x="294" y="296"/>
                    </a:cubicBezTo>
                    <a:cubicBezTo>
                      <a:pt x="77" y="310"/>
                      <a:pt x="0" y="409"/>
                      <a:pt x="1" y="457"/>
                    </a:cubicBezTo>
                    <a:cubicBezTo>
                      <a:pt x="1" y="463"/>
                      <a:pt x="1" y="463"/>
                      <a:pt x="1" y="463"/>
                    </a:cubicBezTo>
                    <a:cubicBezTo>
                      <a:pt x="3" y="490"/>
                      <a:pt x="15" y="515"/>
                      <a:pt x="35" y="538"/>
                    </a:cubicBezTo>
                    <a:cubicBezTo>
                      <a:pt x="66" y="582"/>
                      <a:pt x="182" y="665"/>
                      <a:pt x="246" y="698"/>
                    </a:cubicBezTo>
                    <a:cubicBezTo>
                      <a:pt x="251" y="700"/>
                      <a:pt x="256" y="693"/>
                      <a:pt x="251" y="689"/>
                    </a:cubicBezTo>
                    <a:cubicBezTo>
                      <a:pt x="231" y="674"/>
                      <a:pt x="219" y="661"/>
                      <a:pt x="211" y="650"/>
                    </a:cubicBezTo>
                    <a:cubicBezTo>
                      <a:pt x="336" y="701"/>
                      <a:pt x="470" y="726"/>
                      <a:pt x="470" y="726"/>
                    </a:cubicBezTo>
                    <a:cubicBezTo>
                      <a:pt x="582" y="838"/>
                      <a:pt x="442" y="991"/>
                      <a:pt x="476" y="1006"/>
                    </a:cubicBezTo>
                    <a:cubicBezTo>
                      <a:pt x="499" y="1017"/>
                      <a:pt x="801" y="751"/>
                      <a:pt x="658" y="477"/>
                    </a:cubicBezTo>
                    <a:close/>
                    <a:moveTo>
                      <a:pt x="1217" y="150"/>
                    </a:moveTo>
                    <a:cubicBezTo>
                      <a:pt x="1272" y="95"/>
                      <a:pt x="1272" y="95"/>
                      <a:pt x="1272" y="95"/>
                    </a:cubicBezTo>
                    <a:cubicBezTo>
                      <a:pt x="1280" y="86"/>
                      <a:pt x="1280" y="72"/>
                      <a:pt x="1272" y="64"/>
                    </a:cubicBezTo>
                    <a:cubicBezTo>
                      <a:pt x="1217" y="9"/>
                      <a:pt x="1217" y="9"/>
                      <a:pt x="1217" y="9"/>
                    </a:cubicBezTo>
                    <a:cubicBezTo>
                      <a:pt x="1208" y="0"/>
                      <a:pt x="1194" y="0"/>
                      <a:pt x="1186" y="9"/>
                    </a:cubicBezTo>
                    <a:cubicBezTo>
                      <a:pt x="1177" y="18"/>
                      <a:pt x="1177" y="32"/>
                      <a:pt x="1186" y="40"/>
                    </a:cubicBezTo>
                    <a:cubicBezTo>
                      <a:pt x="1203" y="57"/>
                      <a:pt x="1203" y="57"/>
                      <a:pt x="1203" y="57"/>
                    </a:cubicBezTo>
                    <a:cubicBezTo>
                      <a:pt x="603" y="57"/>
                      <a:pt x="603" y="57"/>
                      <a:pt x="603" y="57"/>
                    </a:cubicBezTo>
                    <a:cubicBezTo>
                      <a:pt x="621" y="40"/>
                      <a:pt x="621" y="40"/>
                      <a:pt x="621" y="40"/>
                    </a:cubicBezTo>
                    <a:cubicBezTo>
                      <a:pt x="629" y="32"/>
                      <a:pt x="629" y="18"/>
                      <a:pt x="621" y="9"/>
                    </a:cubicBezTo>
                    <a:cubicBezTo>
                      <a:pt x="612" y="0"/>
                      <a:pt x="598" y="0"/>
                      <a:pt x="589" y="9"/>
                    </a:cubicBezTo>
                    <a:cubicBezTo>
                      <a:pt x="537" y="62"/>
                      <a:pt x="537" y="62"/>
                      <a:pt x="537" y="62"/>
                    </a:cubicBezTo>
                    <a:cubicBezTo>
                      <a:pt x="531" y="66"/>
                      <a:pt x="528" y="72"/>
                      <a:pt x="528" y="79"/>
                    </a:cubicBezTo>
                    <a:cubicBezTo>
                      <a:pt x="528" y="87"/>
                      <a:pt x="531" y="93"/>
                      <a:pt x="537" y="97"/>
                    </a:cubicBezTo>
                    <a:cubicBezTo>
                      <a:pt x="589" y="150"/>
                      <a:pt x="589" y="150"/>
                      <a:pt x="589" y="150"/>
                    </a:cubicBezTo>
                    <a:cubicBezTo>
                      <a:pt x="594" y="154"/>
                      <a:pt x="599" y="156"/>
                      <a:pt x="605" y="156"/>
                    </a:cubicBezTo>
                    <a:cubicBezTo>
                      <a:pt x="611" y="156"/>
                      <a:pt x="616" y="154"/>
                      <a:pt x="621" y="150"/>
                    </a:cubicBezTo>
                    <a:cubicBezTo>
                      <a:pt x="629" y="141"/>
                      <a:pt x="629" y="127"/>
                      <a:pt x="621" y="119"/>
                    </a:cubicBezTo>
                    <a:cubicBezTo>
                      <a:pt x="603" y="101"/>
                      <a:pt x="603" y="101"/>
                      <a:pt x="603" y="101"/>
                    </a:cubicBezTo>
                    <a:cubicBezTo>
                      <a:pt x="1203" y="101"/>
                      <a:pt x="1203" y="101"/>
                      <a:pt x="1203" y="101"/>
                    </a:cubicBezTo>
                    <a:cubicBezTo>
                      <a:pt x="1186" y="119"/>
                      <a:pt x="1186" y="119"/>
                      <a:pt x="1186" y="119"/>
                    </a:cubicBezTo>
                    <a:cubicBezTo>
                      <a:pt x="1177" y="127"/>
                      <a:pt x="1177" y="141"/>
                      <a:pt x="1186" y="150"/>
                    </a:cubicBezTo>
                    <a:cubicBezTo>
                      <a:pt x="1190" y="154"/>
                      <a:pt x="1196" y="156"/>
                      <a:pt x="1201" y="156"/>
                    </a:cubicBezTo>
                    <a:cubicBezTo>
                      <a:pt x="1207" y="156"/>
                      <a:pt x="1213" y="154"/>
                      <a:pt x="1217" y="15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B3E69C1-AA80-4CF2-8B0E-F4D43549BCB4}"/>
              </a:ext>
            </a:extLst>
          </p:cNvPr>
          <p:cNvGrpSpPr/>
          <p:nvPr/>
        </p:nvGrpSpPr>
        <p:grpSpPr>
          <a:xfrm>
            <a:off x="4404040" y="4191139"/>
            <a:ext cx="7426008" cy="755198"/>
            <a:chOff x="4404040" y="4143686"/>
            <a:chExt cx="7426008" cy="75519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CC591DF-0291-458F-BDEF-EB0CB77761F1}"/>
                </a:ext>
              </a:extLst>
            </p:cNvPr>
            <p:cNvSpPr/>
            <p:nvPr/>
          </p:nvSpPr>
          <p:spPr>
            <a:xfrm>
              <a:off x="5279011" y="4398174"/>
              <a:ext cx="2190529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uración</a:t>
              </a:r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l </a:t>
              </a: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acto</a:t>
              </a:r>
              <a:endPara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81BDCA-3627-4A16-BCC5-B63AFD263190}"/>
                </a:ext>
              </a:extLst>
            </p:cNvPr>
            <p:cNvSpPr/>
            <p:nvPr/>
          </p:nvSpPr>
          <p:spPr>
            <a:xfrm>
              <a:off x="8229599" y="4398174"/>
              <a:ext cx="3600449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raccione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medio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ue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uren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á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  10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inutos</a:t>
              </a: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82DDB23-FFF3-4C2E-AE89-35E57EF5D9D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96114" y="4367830"/>
              <a:ext cx="306910" cy="306910"/>
              <a:chOff x="982662" y="1847850"/>
              <a:chExt cx="269875" cy="269875"/>
            </a:xfrm>
          </p:grpSpPr>
          <p:sp>
            <p:nvSpPr>
              <p:cNvPr id="24" name="Oval 50">
                <a:extLst>
                  <a:ext uri="{FF2B5EF4-FFF2-40B4-BE49-F238E27FC236}">
                    <a16:creationId xmlns:a16="http://schemas.microsoft.com/office/drawing/2014/main" id="{20715CA1-D859-41FC-B733-BDD0EA73FF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rgbClr val="051934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Freeform 51">
                <a:extLst>
                  <a:ext uri="{FF2B5EF4-FFF2-40B4-BE49-F238E27FC236}">
                    <a16:creationId xmlns:a16="http://schemas.microsoft.com/office/drawing/2014/main" id="{8838412E-B98D-4FE6-82A1-4E22561E0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2" name="Group 51"/>
            <p:cNvGrpSpPr>
              <a:grpSpLocks noChangeAspect="1"/>
            </p:cNvGrpSpPr>
            <p:nvPr/>
          </p:nvGrpSpPr>
          <p:grpSpPr>
            <a:xfrm>
              <a:off x="4404040" y="4143686"/>
              <a:ext cx="755198" cy="755198"/>
              <a:chOff x="5273675" y="2606675"/>
              <a:chExt cx="1644650" cy="1644650"/>
            </a:xfrm>
          </p:grpSpPr>
          <p:sp>
            <p:nvSpPr>
              <p:cNvPr id="5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54" name="Group 53"/>
              <p:cNvGrpSpPr/>
              <p:nvPr/>
            </p:nvGrpSpPr>
            <p:grpSpPr>
              <a:xfrm>
                <a:off x="5776913" y="2778125"/>
                <a:ext cx="638175" cy="1300163"/>
                <a:chOff x="5776913" y="2778125"/>
                <a:chExt cx="638175" cy="1300163"/>
              </a:xfrm>
            </p:grpSpPr>
            <p:sp>
              <p:nvSpPr>
                <p:cNvPr id="55" name="Freeform 54"/>
                <p:cNvSpPr>
                  <a:spLocks noEditPoints="1"/>
                </p:cNvSpPr>
                <p:nvPr/>
              </p:nvSpPr>
              <p:spPr bwMode="auto">
                <a:xfrm>
                  <a:off x="5776913" y="2778125"/>
                  <a:ext cx="638175" cy="1300163"/>
                </a:xfrm>
                <a:custGeom>
                  <a:avLst/>
                  <a:gdLst>
                    <a:gd name="T0" fmla="*/ 542 w 896"/>
                    <a:gd name="T1" fmla="*/ 952 h 1822"/>
                    <a:gd name="T2" fmla="*/ 542 w 896"/>
                    <a:gd name="T3" fmla="*/ 951 h 1822"/>
                    <a:gd name="T4" fmla="*/ 541 w 896"/>
                    <a:gd name="T5" fmla="*/ 950 h 1822"/>
                    <a:gd name="T6" fmla="*/ 542 w 896"/>
                    <a:gd name="T7" fmla="*/ 871 h 1822"/>
                    <a:gd name="T8" fmla="*/ 543 w 896"/>
                    <a:gd name="T9" fmla="*/ 870 h 1822"/>
                    <a:gd name="T10" fmla="*/ 862 w 896"/>
                    <a:gd name="T11" fmla="*/ 261 h 1822"/>
                    <a:gd name="T12" fmla="*/ 635 w 896"/>
                    <a:gd name="T13" fmla="*/ 13 h 1822"/>
                    <a:gd name="T14" fmla="*/ 556 w 896"/>
                    <a:gd name="T15" fmla="*/ 0 h 1822"/>
                    <a:gd name="T16" fmla="*/ 340 w 896"/>
                    <a:gd name="T17" fmla="*/ 0 h 1822"/>
                    <a:gd name="T18" fmla="*/ 261 w 896"/>
                    <a:gd name="T19" fmla="*/ 13 h 1822"/>
                    <a:gd name="T20" fmla="*/ 34 w 896"/>
                    <a:gd name="T21" fmla="*/ 261 h 1822"/>
                    <a:gd name="T22" fmla="*/ 353 w 896"/>
                    <a:gd name="T23" fmla="*/ 870 h 1822"/>
                    <a:gd name="T24" fmla="*/ 354 w 896"/>
                    <a:gd name="T25" fmla="*/ 872 h 1822"/>
                    <a:gd name="T26" fmla="*/ 355 w 896"/>
                    <a:gd name="T27" fmla="*/ 950 h 1822"/>
                    <a:gd name="T28" fmla="*/ 354 w 896"/>
                    <a:gd name="T29" fmla="*/ 952 h 1822"/>
                    <a:gd name="T30" fmla="*/ 353 w 896"/>
                    <a:gd name="T31" fmla="*/ 952 h 1822"/>
                    <a:gd name="T32" fmla="*/ 34 w 896"/>
                    <a:gd name="T33" fmla="*/ 1561 h 1822"/>
                    <a:gd name="T34" fmla="*/ 261 w 896"/>
                    <a:gd name="T35" fmla="*/ 1809 h 1822"/>
                    <a:gd name="T36" fmla="*/ 340 w 896"/>
                    <a:gd name="T37" fmla="*/ 1822 h 1822"/>
                    <a:gd name="T38" fmla="*/ 556 w 896"/>
                    <a:gd name="T39" fmla="*/ 1822 h 1822"/>
                    <a:gd name="T40" fmla="*/ 635 w 896"/>
                    <a:gd name="T41" fmla="*/ 1809 h 1822"/>
                    <a:gd name="T42" fmla="*/ 862 w 896"/>
                    <a:gd name="T43" fmla="*/ 1561 h 1822"/>
                    <a:gd name="T44" fmla="*/ 543 w 896"/>
                    <a:gd name="T45" fmla="*/ 952 h 1822"/>
                    <a:gd name="T46" fmla="*/ 542 w 896"/>
                    <a:gd name="T47" fmla="*/ 952 h 1822"/>
                    <a:gd name="T48" fmla="*/ 819 w 896"/>
                    <a:gd name="T49" fmla="*/ 1554 h 1822"/>
                    <a:gd name="T50" fmla="*/ 621 w 896"/>
                    <a:gd name="T51" fmla="*/ 1768 h 1822"/>
                    <a:gd name="T52" fmla="*/ 556 w 896"/>
                    <a:gd name="T53" fmla="*/ 1778 h 1822"/>
                    <a:gd name="T54" fmla="*/ 340 w 896"/>
                    <a:gd name="T55" fmla="*/ 1778 h 1822"/>
                    <a:gd name="T56" fmla="*/ 275 w 896"/>
                    <a:gd name="T57" fmla="*/ 1768 h 1822"/>
                    <a:gd name="T58" fmla="*/ 77 w 896"/>
                    <a:gd name="T59" fmla="*/ 1554 h 1822"/>
                    <a:gd name="T60" fmla="*/ 172 w 896"/>
                    <a:gd name="T61" fmla="*/ 1246 h 1822"/>
                    <a:gd name="T62" fmla="*/ 385 w 896"/>
                    <a:gd name="T63" fmla="*/ 983 h 1822"/>
                    <a:gd name="T64" fmla="*/ 385 w 896"/>
                    <a:gd name="T65" fmla="*/ 982 h 1822"/>
                    <a:gd name="T66" fmla="*/ 395 w 896"/>
                    <a:gd name="T67" fmla="*/ 967 h 1822"/>
                    <a:gd name="T68" fmla="*/ 395 w 896"/>
                    <a:gd name="T69" fmla="*/ 855 h 1822"/>
                    <a:gd name="T70" fmla="*/ 385 w 896"/>
                    <a:gd name="T71" fmla="*/ 839 h 1822"/>
                    <a:gd name="T72" fmla="*/ 172 w 896"/>
                    <a:gd name="T73" fmla="*/ 576 h 1822"/>
                    <a:gd name="T74" fmla="*/ 77 w 896"/>
                    <a:gd name="T75" fmla="*/ 268 h 1822"/>
                    <a:gd name="T76" fmla="*/ 275 w 896"/>
                    <a:gd name="T77" fmla="*/ 54 h 1822"/>
                    <a:gd name="T78" fmla="*/ 340 w 896"/>
                    <a:gd name="T79" fmla="*/ 44 h 1822"/>
                    <a:gd name="T80" fmla="*/ 556 w 896"/>
                    <a:gd name="T81" fmla="*/ 44 h 1822"/>
                    <a:gd name="T82" fmla="*/ 621 w 896"/>
                    <a:gd name="T83" fmla="*/ 54 h 1822"/>
                    <a:gd name="T84" fmla="*/ 819 w 896"/>
                    <a:gd name="T85" fmla="*/ 268 h 1822"/>
                    <a:gd name="T86" fmla="*/ 724 w 896"/>
                    <a:gd name="T87" fmla="*/ 576 h 1822"/>
                    <a:gd name="T88" fmla="*/ 511 w 896"/>
                    <a:gd name="T89" fmla="*/ 839 h 1822"/>
                    <a:gd name="T90" fmla="*/ 501 w 896"/>
                    <a:gd name="T91" fmla="*/ 855 h 1822"/>
                    <a:gd name="T92" fmla="*/ 501 w 896"/>
                    <a:gd name="T93" fmla="*/ 967 h 1822"/>
                    <a:gd name="T94" fmla="*/ 511 w 896"/>
                    <a:gd name="T95" fmla="*/ 982 h 1822"/>
                    <a:gd name="T96" fmla="*/ 511 w 896"/>
                    <a:gd name="T97" fmla="*/ 983 h 1822"/>
                    <a:gd name="T98" fmla="*/ 724 w 896"/>
                    <a:gd name="T99" fmla="*/ 1246 h 1822"/>
                    <a:gd name="T100" fmla="*/ 819 w 896"/>
                    <a:gd name="T101" fmla="*/ 1554 h 18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896" h="1822">
                      <a:moveTo>
                        <a:pt x="542" y="952"/>
                      </a:moveTo>
                      <a:cubicBezTo>
                        <a:pt x="542" y="952"/>
                        <a:pt x="542" y="951"/>
                        <a:pt x="542" y="951"/>
                      </a:cubicBezTo>
                      <a:cubicBezTo>
                        <a:pt x="542" y="951"/>
                        <a:pt x="541" y="950"/>
                        <a:pt x="541" y="950"/>
                      </a:cubicBezTo>
                      <a:cubicBezTo>
                        <a:pt x="531" y="925"/>
                        <a:pt x="531" y="897"/>
                        <a:pt x="542" y="871"/>
                      </a:cubicBezTo>
                      <a:cubicBezTo>
                        <a:pt x="542" y="871"/>
                        <a:pt x="542" y="871"/>
                        <a:pt x="543" y="870"/>
                      </a:cubicBezTo>
                      <a:cubicBezTo>
                        <a:pt x="676" y="733"/>
                        <a:pt x="896" y="472"/>
                        <a:pt x="862" y="261"/>
                      </a:cubicBezTo>
                      <a:cubicBezTo>
                        <a:pt x="843" y="143"/>
                        <a:pt x="765" y="57"/>
                        <a:pt x="635" y="13"/>
                      </a:cubicBezTo>
                      <a:cubicBezTo>
                        <a:pt x="611" y="4"/>
                        <a:pt x="584" y="0"/>
                        <a:pt x="556" y="0"/>
                      </a:cubicBezTo>
                      <a:cubicBezTo>
                        <a:pt x="340" y="0"/>
                        <a:pt x="340" y="0"/>
                        <a:pt x="340" y="0"/>
                      </a:cubicBezTo>
                      <a:cubicBezTo>
                        <a:pt x="312" y="0"/>
                        <a:pt x="285" y="4"/>
                        <a:pt x="261" y="13"/>
                      </a:cubicBezTo>
                      <a:cubicBezTo>
                        <a:pt x="131" y="57"/>
                        <a:pt x="53" y="143"/>
                        <a:pt x="34" y="261"/>
                      </a:cubicBezTo>
                      <a:cubicBezTo>
                        <a:pt x="0" y="472"/>
                        <a:pt x="220" y="733"/>
                        <a:pt x="353" y="870"/>
                      </a:cubicBezTo>
                      <a:cubicBezTo>
                        <a:pt x="354" y="871"/>
                        <a:pt x="354" y="871"/>
                        <a:pt x="354" y="872"/>
                      </a:cubicBezTo>
                      <a:cubicBezTo>
                        <a:pt x="365" y="897"/>
                        <a:pt x="365" y="925"/>
                        <a:pt x="355" y="950"/>
                      </a:cubicBezTo>
                      <a:cubicBezTo>
                        <a:pt x="355" y="950"/>
                        <a:pt x="354" y="951"/>
                        <a:pt x="354" y="952"/>
                      </a:cubicBezTo>
                      <a:cubicBezTo>
                        <a:pt x="353" y="952"/>
                        <a:pt x="353" y="952"/>
                        <a:pt x="353" y="952"/>
                      </a:cubicBezTo>
                      <a:cubicBezTo>
                        <a:pt x="220" y="1089"/>
                        <a:pt x="0" y="1350"/>
                        <a:pt x="34" y="1561"/>
                      </a:cubicBezTo>
                      <a:cubicBezTo>
                        <a:pt x="53" y="1679"/>
                        <a:pt x="131" y="1765"/>
                        <a:pt x="261" y="1809"/>
                      </a:cubicBezTo>
                      <a:cubicBezTo>
                        <a:pt x="285" y="1818"/>
                        <a:pt x="312" y="1822"/>
                        <a:pt x="340" y="1822"/>
                      </a:cubicBezTo>
                      <a:cubicBezTo>
                        <a:pt x="556" y="1822"/>
                        <a:pt x="556" y="1822"/>
                        <a:pt x="556" y="1822"/>
                      </a:cubicBezTo>
                      <a:cubicBezTo>
                        <a:pt x="584" y="1822"/>
                        <a:pt x="611" y="1818"/>
                        <a:pt x="635" y="1809"/>
                      </a:cubicBezTo>
                      <a:cubicBezTo>
                        <a:pt x="765" y="1765"/>
                        <a:pt x="843" y="1679"/>
                        <a:pt x="862" y="1561"/>
                      </a:cubicBezTo>
                      <a:cubicBezTo>
                        <a:pt x="896" y="1350"/>
                        <a:pt x="676" y="1089"/>
                        <a:pt x="543" y="952"/>
                      </a:cubicBezTo>
                      <a:lnTo>
                        <a:pt x="542" y="952"/>
                      </a:lnTo>
                      <a:close/>
                      <a:moveTo>
                        <a:pt x="819" y="1554"/>
                      </a:moveTo>
                      <a:cubicBezTo>
                        <a:pt x="802" y="1657"/>
                        <a:pt x="736" y="1729"/>
                        <a:pt x="621" y="1768"/>
                      </a:cubicBezTo>
                      <a:cubicBezTo>
                        <a:pt x="601" y="1774"/>
                        <a:pt x="579" y="1778"/>
                        <a:pt x="556" y="1778"/>
                      </a:cubicBezTo>
                      <a:cubicBezTo>
                        <a:pt x="340" y="1778"/>
                        <a:pt x="340" y="1778"/>
                        <a:pt x="340" y="1778"/>
                      </a:cubicBezTo>
                      <a:cubicBezTo>
                        <a:pt x="317" y="1778"/>
                        <a:pt x="295" y="1774"/>
                        <a:pt x="275" y="1768"/>
                      </a:cubicBezTo>
                      <a:cubicBezTo>
                        <a:pt x="160" y="1729"/>
                        <a:pt x="94" y="1657"/>
                        <a:pt x="77" y="1554"/>
                      </a:cubicBezTo>
                      <a:cubicBezTo>
                        <a:pt x="64" y="1470"/>
                        <a:pt x="96" y="1367"/>
                        <a:pt x="172" y="1246"/>
                      </a:cubicBezTo>
                      <a:cubicBezTo>
                        <a:pt x="238" y="1141"/>
                        <a:pt x="324" y="1045"/>
                        <a:pt x="385" y="983"/>
                      </a:cubicBezTo>
                      <a:cubicBezTo>
                        <a:pt x="385" y="982"/>
                        <a:pt x="385" y="982"/>
                        <a:pt x="385" y="982"/>
                      </a:cubicBezTo>
                      <a:cubicBezTo>
                        <a:pt x="390" y="978"/>
                        <a:pt x="393" y="972"/>
                        <a:pt x="395" y="967"/>
                      </a:cubicBezTo>
                      <a:cubicBezTo>
                        <a:pt x="410" y="930"/>
                        <a:pt x="410" y="891"/>
                        <a:pt x="395" y="855"/>
                      </a:cubicBezTo>
                      <a:cubicBezTo>
                        <a:pt x="393" y="849"/>
                        <a:pt x="389" y="844"/>
                        <a:pt x="385" y="839"/>
                      </a:cubicBezTo>
                      <a:cubicBezTo>
                        <a:pt x="324" y="777"/>
                        <a:pt x="238" y="681"/>
                        <a:pt x="172" y="576"/>
                      </a:cubicBezTo>
                      <a:cubicBezTo>
                        <a:pt x="96" y="455"/>
                        <a:pt x="64" y="352"/>
                        <a:pt x="77" y="268"/>
                      </a:cubicBezTo>
                      <a:cubicBezTo>
                        <a:pt x="94" y="165"/>
                        <a:pt x="160" y="93"/>
                        <a:pt x="275" y="54"/>
                      </a:cubicBezTo>
                      <a:cubicBezTo>
                        <a:pt x="295" y="48"/>
                        <a:pt x="317" y="44"/>
                        <a:pt x="340" y="44"/>
                      </a:cubicBezTo>
                      <a:cubicBezTo>
                        <a:pt x="556" y="44"/>
                        <a:pt x="556" y="44"/>
                        <a:pt x="556" y="44"/>
                      </a:cubicBezTo>
                      <a:cubicBezTo>
                        <a:pt x="579" y="44"/>
                        <a:pt x="601" y="48"/>
                        <a:pt x="621" y="54"/>
                      </a:cubicBezTo>
                      <a:cubicBezTo>
                        <a:pt x="736" y="93"/>
                        <a:pt x="802" y="165"/>
                        <a:pt x="819" y="268"/>
                      </a:cubicBezTo>
                      <a:cubicBezTo>
                        <a:pt x="832" y="352"/>
                        <a:pt x="800" y="455"/>
                        <a:pt x="724" y="576"/>
                      </a:cubicBezTo>
                      <a:cubicBezTo>
                        <a:pt x="658" y="681"/>
                        <a:pt x="572" y="777"/>
                        <a:pt x="511" y="839"/>
                      </a:cubicBezTo>
                      <a:cubicBezTo>
                        <a:pt x="507" y="844"/>
                        <a:pt x="503" y="849"/>
                        <a:pt x="501" y="855"/>
                      </a:cubicBezTo>
                      <a:cubicBezTo>
                        <a:pt x="486" y="891"/>
                        <a:pt x="486" y="930"/>
                        <a:pt x="501" y="967"/>
                      </a:cubicBezTo>
                      <a:cubicBezTo>
                        <a:pt x="503" y="972"/>
                        <a:pt x="506" y="978"/>
                        <a:pt x="511" y="982"/>
                      </a:cubicBezTo>
                      <a:cubicBezTo>
                        <a:pt x="511" y="983"/>
                        <a:pt x="511" y="983"/>
                        <a:pt x="511" y="983"/>
                      </a:cubicBezTo>
                      <a:cubicBezTo>
                        <a:pt x="572" y="1045"/>
                        <a:pt x="658" y="1141"/>
                        <a:pt x="724" y="1246"/>
                      </a:cubicBezTo>
                      <a:cubicBezTo>
                        <a:pt x="800" y="1367"/>
                        <a:pt x="832" y="1470"/>
                        <a:pt x="819" y="1554"/>
                      </a:cubicBezTo>
                      <a:close/>
                    </a:path>
                  </a:pathLst>
                </a:custGeom>
                <a:solidFill>
                  <a:srgbClr val="05193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55"/>
                <p:cNvSpPr>
                  <a:spLocks/>
                </p:cNvSpPr>
                <p:nvPr/>
              </p:nvSpPr>
              <p:spPr bwMode="auto">
                <a:xfrm>
                  <a:off x="5865929" y="3059113"/>
                  <a:ext cx="459714" cy="955675"/>
                </a:xfrm>
                <a:custGeom>
                  <a:avLst/>
                  <a:gdLst>
                    <a:gd name="connsiteX0" fmla="*/ 229982 w 459714"/>
                    <a:gd name="connsiteY0" fmla="*/ 587063 h 955675"/>
                    <a:gd name="connsiteX1" fmla="*/ 252978 w 459714"/>
                    <a:gd name="connsiteY1" fmla="*/ 595652 h 955675"/>
                    <a:gd name="connsiteX2" fmla="*/ 446970 w 459714"/>
                    <a:gd name="connsiteY2" fmla="*/ 792484 h 955675"/>
                    <a:gd name="connsiteX3" fmla="*/ 454844 w 459714"/>
                    <a:gd name="connsiteY3" fmla="*/ 857617 h 955675"/>
                    <a:gd name="connsiteX4" fmla="*/ 393998 w 459714"/>
                    <a:gd name="connsiteY4" fmla="*/ 927045 h 955675"/>
                    <a:gd name="connsiteX5" fmla="*/ 290202 w 459714"/>
                    <a:gd name="connsiteY5" fmla="*/ 955675 h 955675"/>
                    <a:gd name="connsiteX6" fmla="*/ 169941 w 459714"/>
                    <a:gd name="connsiteY6" fmla="*/ 955675 h 955675"/>
                    <a:gd name="connsiteX7" fmla="*/ 66145 w 459714"/>
                    <a:gd name="connsiteY7" fmla="*/ 927045 h 955675"/>
                    <a:gd name="connsiteX8" fmla="*/ 3867 w 459714"/>
                    <a:gd name="connsiteY8" fmla="*/ 854038 h 955675"/>
                    <a:gd name="connsiteX9" fmla="*/ 11741 w 459714"/>
                    <a:gd name="connsiteY9" fmla="*/ 793915 h 955675"/>
                    <a:gd name="connsiteX10" fmla="*/ 206449 w 459714"/>
                    <a:gd name="connsiteY10" fmla="*/ 595652 h 955675"/>
                    <a:gd name="connsiteX11" fmla="*/ 229982 w 459714"/>
                    <a:gd name="connsiteY11" fmla="*/ 587063 h 955675"/>
                    <a:gd name="connsiteX12" fmla="*/ 230865 w 459714"/>
                    <a:gd name="connsiteY12" fmla="*/ 525462 h 955675"/>
                    <a:gd name="connsiteX13" fmla="*/ 244359 w 459714"/>
                    <a:gd name="connsiteY13" fmla="*/ 538956 h 955675"/>
                    <a:gd name="connsiteX14" fmla="*/ 239388 w 459714"/>
                    <a:gd name="connsiteY14" fmla="*/ 548899 h 955675"/>
                    <a:gd name="connsiteX15" fmla="*/ 230865 w 459714"/>
                    <a:gd name="connsiteY15" fmla="*/ 552450 h 955675"/>
                    <a:gd name="connsiteX16" fmla="*/ 221633 w 459714"/>
                    <a:gd name="connsiteY16" fmla="*/ 548899 h 955675"/>
                    <a:gd name="connsiteX17" fmla="*/ 217371 w 459714"/>
                    <a:gd name="connsiteY17" fmla="*/ 538956 h 955675"/>
                    <a:gd name="connsiteX18" fmla="*/ 230865 w 459714"/>
                    <a:gd name="connsiteY18" fmla="*/ 525462 h 955675"/>
                    <a:gd name="connsiteX19" fmla="*/ 230865 w 459714"/>
                    <a:gd name="connsiteY19" fmla="*/ 449262 h 955675"/>
                    <a:gd name="connsiteX20" fmla="*/ 244359 w 459714"/>
                    <a:gd name="connsiteY20" fmla="*/ 462756 h 955675"/>
                    <a:gd name="connsiteX21" fmla="*/ 230865 w 459714"/>
                    <a:gd name="connsiteY21" fmla="*/ 476250 h 955675"/>
                    <a:gd name="connsiteX22" fmla="*/ 217371 w 459714"/>
                    <a:gd name="connsiteY22" fmla="*/ 462756 h 955675"/>
                    <a:gd name="connsiteX23" fmla="*/ 230865 w 459714"/>
                    <a:gd name="connsiteY23" fmla="*/ 449262 h 955675"/>
                    <a:gd name="connsiteX24" fmla="*/ 230865 w 459714"/>
                    <a:gd name="connsiteY24" fmla="*/ 374650 h 955675"/>
                    <a:gd name="connsiteX25" fmla="*/ 244359 w 459714"/>
                    <a:gd name="connsiteY25" fmla="*/ 388144 h 955675"/>
                    <a:gd name="connsiteX26" fmla="*/ 230865 w 459714"/>
                    <a:gd name="connsiteY26" fmla="*/ 401638 h 955675"/>
                    <a:gd name="connsiteX27" fmla="*/ 217371 w 459714"/>
                    <a:gd name="connsiteY27" fmla="*/ 388144 h 955675"/>
                    <a:gd name="connsiteX28" fmla="*/ 230865 w 459714"/>
                    <a:gd name="connsiteY28" fmla="*/ 374650 h 955675"/>
                    <a:gd name="connsiteX29" fmla="*/ 6234 w 459714"/>
                    <a:gd name="connsiteY29" fmla="*/ 0 h 955675"/>
                    <a:gd name="connsiteX30" fmla="*/ 453909 w 459714"/>
                    <a:gd name="connsiteY30" fmla="*/ 0 h 955675"/>
                    <a:gd name="connsiteX31" fmla="*/ 250096 w 459714"/>
                    <a:gd name="connsiteY31" fmla="*/ 291837 h 955675"/>
                    <a:gd name="connsiteX32" fmla="*/ 230072 w 459714"/>
                    <a:gd name="connsiteY32" fmla="*/ 311150 h 955675"/>
                    <a:gd name="connsiteX33" fmla="*/ 210047 w 459714"/>
                    <a:gd name="connsiteY33" fmla="*/ 291837 h 955675"/>
                    <a:gd name="connsiteX34" fmla="*/ 6234 w 459714"/>
                    <a:gd name="connsiteY34" fmla="*/ 0 h 955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459714" h="955675">
                      <a:moveTo>
                        <a:pt x="229982" y="587063"/>
                      </a:moveTo>
                      <a:cubicBezTo>
                        <a:pt x="238304" y="587063"/>
                        <a:pt x="246536" y="589926"/>
                        <a:pt x="252978" y="595652"/>
                      </a:cubicBezTo>
                      <a:cubicBezTo>
                        <a:pt x="308098" y="644323"/>
                        <a:pt x="406167" y="734508"/>
                        <a:pt x="446970" y="792484"/>
                      </a:cubicBezTo>
                      <a:cubicBezTo>
                        <a:pt x="460571" y="811809"/>
                        <a:pt x="463434" y="836145"/>
                        <a:pt x="454844" y="857617"/>
                      </a:cubicBezTo>
                      <a:cubicBezTo>
                        <a:pt x="443391" y="886247"/>
                        <a:pt x="423347" y="909151"/>
                        <a:pt x="393998" y="927045"/>
                      </a:cubicBezTo>
                      <a:cubicBezTo>
                        <a:pt x="363933" y="945655"/>
                        <a:pt x="328141" y="955675"/>
                        <a:pt x="290202" y="955675"/>
                      </a:cubicBezTo>
                      <a:cubicBezTo>
                        <a:pt x="290202" y="955675"/>
                        <a:pt x="290202" y="955675"/>
                        <a:pt x="169941" y="955675"/>
                      </a:cubicBezTo>
                      <a:cubicBezTo>
                        <a:pt x="132002" y="955675"/>
                        <a:pt x="96210" y="945655"/>
                        <a:pt x="66145" y="927045"/>
                      </a:cubicBezTo>
                      <a:cubicBezTo>
                        <a:pt x="35364" y="908436"/>
                        <a:pt x="15320" y="884100"/>
                        <a:pt x="3867" y="854038"/>
                      </a:cubicBezTo>
                      <a:cubicBezTo>
                        <a:pt x="-3291" y="833997"/>
                        <a:pt x="-428" y="811809"/>
                        <a:pt x="11741" y="793915"/>
                      </a:cubicBezTo>
                      <a:cubicBezTo>
                        <a:pt x="51828" y="734508"/>
                        <a:pt x="151329" y="644323"/>
                        <a:pt x="206449" y="595652"/>
                      </a:cubicBezTo>
                      <a:cubicBezTo>
                        <a:pt x="213249" y="589926"/>
                        <a:pt x="221661" y="587063"/>
                        <a:pt x="229982" y="587063"/>
                      </a:cubicBezTo>
                      <a:close/>
                      <a:moveTo>
                        <a:pt x="230865" y="525462"/>
                      </a:moveTo>
                      <a:cubicBezTo>
                        <a:pt x="237967" y="525462"/>
                        <a:pt x="244359" y="531144"/>
                        <a:pt x="244359" y="538956"/>
                      </a:cubicBezTo>
                      <a:cubicBezTo>
                        <a:pt x="244359" y="542507"/>
                        <a:pt x="242229" y="546058"/>
                        <a:pt x="239388" y="548899"/>
                      </a:cubicBezTo>
                      <a:cubicBezTo>
                        <a:pt x="237257" y="551030"/>
                        <a:pt x="233706" y="552450"/>
                        <a:pt x="230865" y="552450"/>
                      </a:cubicBezTo>
                      <a:cubicBezTo>
                        <a:pt x="227314" y="552450"/>
                        <a:pt x="223763" y="551030"/>
                        <a:pt x="221633" y="548899"/>
                      </a:cubicBezTo>
                      <a:cubicBezTo>
                        <a:pt x="218792" y="546058"/>
                        <a:pt x="217371" y="542507"/>
                        <a:pt x="217371" y="538956"/>
                      </a:cubicBezTo>
                      <a:cubicBezTo>
                        <a:pt x="217371" y="531144"/>
                        <a:pt x="223053" y="525462"/>
                        <a:pt x="230865" y="525462"/>
                      </a:cubicBezTo>
                      <a:close/>
                      <a:moveTo>
                        <a:pt x="230865" y="449262"/>
                      </a:moveTo>
                      <a:cubicBezTo>
                        <a:pt x="238318" y="449262"/>
                        <a:pt x="244359" y="455303"/>
                        <a:pt x="244359" y="462756"/>
                      </a:cubicBezTo>
                      <a:cubicBezTo>
                        <a:pt x="244359" y="470209"/>
                        <a:pt x="238318" y="476250"/>
                        <a:pt x="230865" y="476250"/>
                      </a:cubicBezTo>
                      <a:cubicBezTo>
                        <a:pt x="223412" y="476250"/>
                        <a:pt x="217371" y="470209"/>
                        <a:pt x="217371" y="462756"/>
                      </a:cubicBezTo>
                      <a:cubicBezTo>
                        <a:pt x="217371" y="455303"/>
                        <a:pt x="223412" y="449262"/>
                        <a:pt x="230865" y="449262"/>
                      </a:cubicBezTo>
                      <a:close/>
                      <a:moveTo>
                        <a:pt x="230865" y="374650"/>
                      </a:moveTo>
                      <a:cubicBezTo>
                        <a:pt x="238318" y="374650"/>
                        <a:pt x="244359" y="380691"/>
                        <a:pt x="244359" y="388144"/>
                      </a:cubicBezTo>
                      <a:cubicBezTo>
                        <a:pt x="244359" y="395597"/>
                        <a:pt x="238318" y="401638"/>
                        <a:pt x="230865" y="401638"/>
                      </a:cubicBezTo>
                      <a:cubicBezTo>
                        <a:pt x="223412" y="401638"/>
                        <a:pt x="217371" y="395597"/>
                        <a:pt x="217371" y="388144"/>
                      </a:cubicBezTo>
                      <a:cubicBezTo>
                        <a:pt x="217371" y="380691"/>
                        <a:pt x="223412" y="374650"/>
                        <a:pt x="230865" y="374650"/>
                      </a:cubicBezTo>
                      <a:close/>
                      <a:moveTo>
                        <a:pt x="6234" y="0"/>
                      </a:moveTo>
                      <a:cubicBezTo>
                        <a:pt x="6234" y="0"/>
                        <a:pt x="6234" y="0"/>
                        <a:pt x="453909" y="0"/>
                      </a:cubicBezTo>
                      <a:cubicBezTo>
                        <a:pt x="413862" y="115876"/>
                        <a:pt x="299440" y="241767"/>
                        <a:pt x="250096" y="291837"/>
                      </a:cubicBezTo>
                      <a:cubicBezTo>
                        <a:pt x="248665" y="293268"/>
                        <a:pt x="240084" y="301851"/>
                        <a:pt x="230072" y="311150"/>
                      </a:cubicBezTo>
                      <a:cubicBezTo>
                        <a:pt x="220060" y="301851"/>
                        <a:pt x="211478" y="293268"/>
                        <a:pt x="210047" y="291837"/>
                      </a:cubicBezTo>
                      <a:cubicBezTo>
                        <a:pt x="160703" y="241767"/>
                        <a:pt x="46281" y="115876"/>
                        <a:pt x="6234" y="0"/>
                      </a:cubicBezTo>
                      <a:close/>
                    </a:path>
                  </a:pathLst>
                </a:custGeom>
                <a:solidFill>
                  <a:srgbClr val="0A3774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D979C07-8C87-4C19-A292-5C7603A58097}"/>
              </a:ext>
            </a:extLst>
          </p:cNvPr>
          <p:cNvGrpSpPr/>
          <p:nvPr/>
        </p:nvGrpSpPr>
        <p:grpSpPr>
          <a:xfrm>
            <a:off x="4404038" y="5115980"/>
            <a:ext cx="7426010" cy="870042"/>
            <a:chOff x="4404038" y="5115980"/>
            <a:chExt cx="7426010" cy="87004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BF80D3B-685F-4D24-A0E5-11D7E9F163EC}"/>
                </a:ext>
              </a:extLst>
            </p:cNvPr>
            <p:cNvSpPr/>
            <p:nvPr/>
          </p:nvSpPr>
          <p:spPr>
            <a:xfrm>
              <a:off x="5279010" y="5247358"/>
              <a:ext cx="2190529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</a:pP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ficultades</a:t>
              </a:r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para </a:t>
              </a: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mplementar</a:t>
              </a:r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as</a:t>
              </a:r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didas</a:t>
              </a:r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US" sz="16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tección</a:t>
              </a:r>
              <a:endParaRPr lang="en-US" sz="1600" b="1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E94EDA3-62C4-4744-9ABA-07BDC7EEB8CB}"/>
                </a:ext>
              </a:extLst>
            </p:cNvPr>
            <p:cNvSpPr/>
            <p:nvPr/>
          </p:nvSpPr>
          <p:spPr>
            <a:xfrm>
              <a:off x="8229599" y="5247358"/>
              <a:ext cx="3600449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l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pacio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interior,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finado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o no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osible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trolar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con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quiene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ractuarán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los  </a:t>
              </a:r>
              <a:r>
                <a:rPr lang="en-US" sz="1600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bajadores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sz="16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AF162C4-1962-4FB4-B99A-E83034F66F5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96114" y="5340125"/>
              <a:ext cx="306910" cy="306910"/>
              <a:chOff x="982662" y="1847850"/>
              <a:chExt cx="269875" cy="269875"/>
            </a:xfrm>
          </p:grpSpPr>
          <p:sp>
            <p:nvSpPr>
              <p:cNvPr id="27" name="Oval 50">
                <a:extLst>
                  <a:ext uri="{FF2B5EF4-FFF2-40B4-BE49-F238E27FC236}">
                    <a16:creationId xmlns:a16="http://schemas.microsoft.com/office/drawing/2014/main" id="{D06F32B5-1188-4AAF-9CCA-4BA19042AA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rgbClr val="051934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eform 51">
                <a:extLst>
                  <a:ext uri="{FF2B5EF4-FFF2-40B4-BE49-F238E27FC236}">
                    <a16:creationId xmlns:a16="http://schemas.microsoft.com/office/drawing/2014/main" id="{9F5ED7EA-B9E2-4BB1-BBEF-EC8DBAC49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4404038" y="5115980"/>
              <a:ext cx="755200" cy="755198"/>
              <a:chOff x="-7481985" y="-2031500"/>
              <a:chExt cx="6848475" cy="6858002"/>
            </a:xfrm>
          </p:grpSpPr>
          <p:sp>
            <p:nvSpPr>
              <p:cNvPr id="58" name="AutoShape 41"/>
              <p:cNvSpPr>
                <a:spLocks noChangeAspect="1" noChangeArrowheads="1" noTextEdit="1"/>
              </p:cNvSpPr>
              <p:nvPr/>
            </p:nvSpPr>
            <p:spPr bwMode="auto">
              <a:xfrm>
                <a:off x="-7481985" y="-2031500"/>
                <a:ext cx="6848475" cy="68580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43"/>
              <p:cNvSpPr>
                <a:spLocks/>
              </p:cNvSpPr>
              <p:nvPr/>
            </p:nvSpPr>
            <p:spPr bwMode="auto">
              <a:xfrm>
                <a:off x="-6743790" y="1816604"/>
                <a:ext cx="860422" cy="1479549"/>
              </a:xfrm>
              <a:custGeom>
                <a:avLst/>
                <a:gdLst>
                  <a:gd name="T0" fmla="*/ 289 w 289"/>
                  <a:gd name="T1" fmla="*/ 475 h 497"/>
                  <a:gd name="T2" fmla="*/ 49 w 289"/>
                  <a:gd name="T3" fmla="*/ 24 h 497"/>
                  <a:gd name="T4" fmla="*/ 0 w 289"/>
                  <a:gd name="T5" fmla="*/ 0 h 497"/>
                  <a:gd name="T6" fmla="*/ 250 w 289"/>
                  <a:gd name="T7" fmla="*/ 497 h 497"/>
                  <a:gd name="T8" fmla="*/ 269 w 289"/>
                  <a:gd name="T9" fmla="*/ 485 h 497"/>
                  <a:gd name="T10" fmla="*/ 289 w 289"/>
                  <a:gd name="T11" fmla="*/ 475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9" h="497">
                    <a:moveTo>
                      <a:pt x="289" y="475"/>
                    </a:moveTo>
                    <a:cubicBezTo>
                      <a:pt x="168" y="354"/>
                      <a:pt x="82" y="198"/>
                      <a:pt x="49" y="2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187"/>
                      <a:pt x="115" y="360"/>
                      <a:pt x="250" y="497"/>
                    </a:cubicBezTo>
                    <a:cubicBezTo>
                      <a:pt x="256" y="493"/>
                      <a:pt x="262" y="489"/>
                      <a:pt x="269" y="485"/>
                    </a:cubicBezTo>
                    <a:lnTo>
                      <a:pt x="289" y="475"/>
                    </a:lnTo>
                    <a:close/>
                  </a:path>
                </a:pathLst>
              </a:custGeom>
              <a:solidFill>
                <a:srgbClr val="082A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44"/>
              <p:cNvSpPr>
                <a:spLocks/>
              </p:cNvSpPr>
              <p:nvPr/>
            </p:nvSpPr>
            <p:spPr bwMode="auto">
              <a:xfrm>
                <a:off x="-5351565" y="3716840"/>
                <a:ext cx="2587620" cy="398465"/>
              </a:xfrm>
              <a:custGeom>
                <a:avLst/>
                <a:gdLst>
                  <a:gd name="T0" fmla="*/ 442 w 869"/>
                  <a:gd name="T1" fmla="*/ 93 h 134"/>
                  <a:gd name="T2" fmla="*/ 434 w 869"/>
                  <a:gd name="T3" fmla="*/ 94 h 134"/>
                  <a:gd name="T4" fmla="*/ 434 w 869"/>
                  <a:gd name="T5" fmla="*/ 94 h 134"/>
                  <a:gd name="T6" fmla="*/ 47 w 869"/>
                  <a:gd name="T7" fmla="*/ 0 h 134"/>
                  <a:gd name="T8" fmla="*/ 0 w 869"/>
                  <a:gd name="T9" fmla="*/ 24 h 134"/>
                  <a:gd name="T10" fmla="*/ 434 w 869"/>
                  <a:gd name="T11" fmla="*/ 134 h 134"/>
                  <a:gd name="T12" fmla="*/ 869 w 869"/>
                  <a:gd name="T13" fmla="*/ 24 h 134"/>
                  <a:gd name="T14" fmla="*/ 822 w 869"/>
                  <a:gd name="T15" fmla="*/ 0 h 134"/>
                  <a:gd name="T16" fmla="*/ 442 w 869"/>
                  <a:gd name="T17" fmla="*/ 9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69" h="134">
                    <a:moveTo>
                      <a:pt x="442" y="93"/>
                    </a:moveTo>
                    <a:cubicBezTo>
                      <a:pt x="439" y="94"/>
                      <a:pt x="437" y="94"/>
                      <a:pt x="434" y="94"/>
                    </a:cubicBezTo>
                    <a:cubicBezTo>
                      <a:pt x="434" y="94"/>
                      <a:pt x="434" y="94"/>
                      <a:pt x="434" y="94"/>
                    </a:cubicBezTo>
                    <a:cubicBezTo>
                      <a:pt x="300" y="93"/>
                      <a:pt x="167" y="60"/>
                      <a:pt x="47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31" y="96"/>
                      <a:pt x="280" y="134"/>
                      <a:pt x="434" y="134"/>
                    </a:cubicBezTo>
                    <a:cubicBezTo>
                      <a:pt x="588" y="134"/>
                      <a:pt x="737" y="96"/>
                      <a:pt x="869" y="24"/>
                    </a:cubicBezTo>
                    <a:cubicBezTo>
                      <a:pt x="822" y="0"/>
                      <a:pt x="822" y="0"/>
                      <a:pt x="822" y="0"/>
                    </a:cubicBezTo>
                    <a:cubicBezTo>
                      <a:pt x="705" y="59"/>
                      <a:pt x="574" y="91"/>
                      <a:pt x="442" y="93"/>
                    </a:cubicBezTo>
                    <a:close/>
                  </a:path>
                </a:pathLst>
              </a:custGeom>
              <a:solidFill>
                <a:srgbClr val="082A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Freeform 45"/>
              <p:cNvSpPr>
                <a:spLocks/>
              </p:cNvSpPr>
              <p:nvPr/>
            </p:nvSpPr>
            <p:spPr bwMode="auto">
              <a:xfrm>
                <a:off x="-2235304" y="1819771"/>
                <a:ext cx="860422" cy="1473200"/>
              </a:xfrm>
              <a:custGeom>
                <a:avLst/>
                <a:gdLst>
                  <a:gd name="T0" fmla="*/ 0 w 289"/>
                  <a:gd name="T1" fmla="*/ 473 h 495"/>
                  <a:gd name="T2" fmla="*/ 21 w 289"/>
                  <a:gd name="T3" fmla="*/ 484 h 495"/>
                  <a:gd name="T4" fmla="*/ 40 w 289"/>
                  <a:gd name="T5" fmla="*/ 495 h 495"/>
                  <a:gd name="T6" fmla="*/ 289 w 289"/>
                  <a:gd name="T7" fmla="*/ 0 h 495"/>
                  <a:gd name="T8" fmla="*/ 240 w 289"/>
                  <a:gd name="T9" fmla="*/ 23 h 495"/>
                  <a:gd name="T10" fmla="*/ 0 w 289"/>
                  <a:gd name="T11" fmla="*/ 473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9" h="495">
                    <a:moveTo>
                      <a:pt x="0" y="473"/>
                    </a:moveTo>
                    <a:cubicBezTo>
                      <a:pt x="21" y="484"/>
                      <a:pt x="21" y="484"/>
                      <a:pt x="21" y="484"/>
                    </a:cubicBezTo>
                    <a:cubicBezTo>
                      <a:pt x="28" y="487"/>
                      <a:pt x="34" y="491"/>
                      <a:pt x="40" y="495"/>
                    </a:cubicBezTo>
                    <a:cubicBezTo>
                      <a:pt x="174" y="359"/>
                      <a:pt x="260" y="186"/>
                      <a:pt x="289" y="0"/>
                    </a:cubicBezTo>
                    <a:cubicBezTo>
                      <a:pt x="240" y="23"/>
                      <a:pt x="240" y="23"/>
                      <a:pt x="240" y="23"/>
                    </a:cubicBezTo>
                    <a:cubicBezTo>
                      <a:pt x="206" y="197"/>
                      <a:pt x="121" y="353"/>
                      <a:pt x="0" y="473"/>
                    </a:cubicBezTo>
                    <a:close/>
                  </a:path>
                </a:pathLst>
              </a:custGeom>
              <a:solidFill>
                <a:srgbClr val="082A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46"/>
              <p:cNvSpPr>
                <a:spLocks noEditPoints="1"/>
              </p:cNvSpPr>
              <p:nvPr/>
            </p:nvSpPr>
            <p:spPr bwMode="auto">
              <a:xfrm>
                <a:off x="-7043835" y="-1326645"/>
                <a:ext cx="5948363" cy="5191128"/>
              </a:xfrm>
              <a:custGeom>
                <a:avLst/>
                <a:gdLst>
                  <a:gd name="T0" fmla="*/ 1988 w 1999"/>
                  <a:gd name="T1" fmla="*/ 879 h 1744"/>
                  <a:gd name="T2" fmla="*/ 1433 w 1999"/>
                  <a:gd name="T3" fmla="*/ 1057 h 1744"/>
                  <a:gd name="T4" fmla="*/ 1001 w 1999"/>
                  <a:gd name="T5" fmla="*/ 893 h 1744"/>
                  <a:gd name="T6" fmla="*/ 126 w 1999"/>
                  <a:gd name="T7" fmla="*/ 842 h 1744"/>
                  <a:gd name="T8" fmla="*/ 57 w 1999"/>
                  <a:gd name="T9" fmla="*/ 986 h 1744"/>
                  <a:gd name="T10" fmla="*/ 283 w 1999"/>
                  <a:gd name="T11" fmla="*/ 1246 h 1744"/>
                  <a:gd name="T12" fmla="*/ 265 w 1999"/>
                  <a:gd name="T13" fmla="*/ 1277 h 1744"/>
                  <a:gd name="T14" fmla="*/ 390 w 1999"/>
                  <a:gd name="T15" fmla="*/ 1580 h 1744"/>
                  <a:gd name="T16" fmla="*/ 463 w 1999"/>
                  <a:gd name="T17" fmla="*/ 1723 h 1744"/>
                  <a:gd name="T18" fmla="*/ 1003 w 1999"/>
                  <a:gd name="T19" fmla="*/ 1744 h 1744"/>
                  <a:gd name="T20" fmla="*/ 1008 w 1999"/>
                  <a:gd name="T21" fmla="*/ 1743 h 1744"/>
                  <a:gd name="T22" fmla="*/ 1545 w 1999"/>
                  <a:gd name="T23" fmla="*/ 1723 h 1744"/>
                  <a:gd name="T24" fmla="*/ 1652 w 1999"/>
                  <a:gd name="T25" fmla="*/ 1688 h 1744"/>
                  <a:gd name="T26" fmla="*/ 1540 w 1999"/>
                  <a:gd name="T27" fmla="*/ 1541 h 1744"/>
                  <a:gd name="T28" fmla="*/ 1742 w 1999"/>
                  <a:gd name="T29" fmla="*/ 1256 h 1744"/>
                  <a:gd name="T30" fmla="*/ 1539 w 1999"/>
                  <a:gd name="T31" fmla="*/ 1183 h 1744"/>
                  <a:gd name="T32" fmla="*/ 1991 w 1999"/>
                  <a:gd name="T33" fmla="*/ 941 h 1744"/>
                  <a:gd name="T34" fmla="*/ 1950 w 1999"/>
                  <a:gd name="T35" fmla="*/ 926 h 1744"/>
                  <a:gd name="T36" fmla="*/ 1490 w 1999"/>
                  <a:gd name="T37" fmla="*/ 1158 h 1744"/>
                  <a:gd name="T38" fmla="*/ 1484 w 1999"/>
                  <a:gd name="T39" fmla="*/ 1193 h 1744"/>
                  <a:gd name="T40" fmla="*/ 1487 w 1999"/>
                  <a:gd name="T41" fmla="*/ 1528 h 1744"/>
                  <a:gd name="T42" fmla="*/ 1491 w 1999"/>
                  <a:gd name="T43" fmla="*/ 1565 h 1744"/>
                  <a:gd name="T44" fmla="*/ 1613 w 1999"/>
                  <a:gd name="T45" fmla="*/ 1668 h 1744"/>
                  <a:gd name="T46" fmla="*/ 1565 w 1999"/>
                  <a:gd name="T47" fmla="*/ 1683 h 1744"/>
                  <a:gd name="T48" fmla="*/ 1380 w 1999"/>
                  <a:gd name="T49" fmla="*/ 1600 h 1744"/>
                  <a:gd name="T50" fmla="*/ 1009 w 1999"/>
                  <a:gd name="T51" fmla="*/ 1699 h 1744"/>
                  <a:gd name="T52" fmla="*/ 628 w 1999"/>
                  <a:gd name="T53" fmla="*/ 1601 h 1744"/>
                  <a:gd name="T54" fmla="*/ 607 w 1999"/>
                  <a:gd name="T55" fmla="*/ 1600 h 1744"/>
                  <a:gd name="T56" fmla="*/ 394 w 1999"/>
                  <a:gd name="T57" fmla="*/ 1668 h 1744"/>
                  <a:gd name="T58" fmla="*/ 517 w 1999"/>
                  <a:gd name="T59" fmla="*/ 1565 h 1744"/>
                  <a:gd name="T60" fmla="*/ 521 w 1999"/>
                  <a:gd name="T61" fmla="*/ 1528 h 1744"/>
                  <a:gd name="T62" fmla="*/ 523 w 1999"/>
                  <a:gd name="T63" fmla="*/ 1194 h 1744"/>
                  <a:gd name="T64" fmla="*/ 517 w 1999"/>
                  <a:gd name="T65" fmla="*/ 1158 h 1744"/>
                  <a:gd name="T66" fmla="*/ 57 w 1999"/>
                  <a:gd name="T67" fmla="*/ 926 h 1744"/>
                  <a:gd name="T68" fmla="*/ 107 w 1999"/>
                  <a:gd name="T69" fmla="*/ 882 h 1744"/>
                  <a:gd name="T70" fmla="*/ 566 w 1999"/>
                  <a:gd name="T71" fmla="*/ 1103 h 1744"/>
                  <a:gd name="T72" fmla="*/ 995 w 1999"/>
                  <a:gd name="T73" fmla="*/ 937 h 1744"/>
                  <a:gd name="T74" fmla="*/ 1014 w 1999"/>
                  <a:gd name="T75" fmla="*/ 936 h 1744"/>
                  <a:gd name="T76" fmla="*/ 1441 w 1999"/>
                  <a:gd name="T77" fmla="*/ 1102 h 1744"/>
                  <a:gd name="T78" fmla="*/ 1900 w 1999"/>
                  <a:gd name="T79" fmla="*/ 881 h 1744"/>
                  <a:gd name="T80" fmla="*/ 1950 w 1999"/>
                  <a:gd name="T81" fmla="*/ 926 h 1744"/>
                  <a:gd name="T82" fmla="*/ 1865 w 1999"/>
                  <a:gd name="T83" fmla="*/ 801 h 1744"/>
                  <a:gd name="T84" fmla="*/ 1648 w 1999"/>
                  <a:gd name="T85" fmla="*/ 268 h 1744"/>
                  <a:gd name="T86" fmla="*/ 358 w 1999"/>
                  <a:gd name="T87" fmla="*/ 268 h 1744"/>
                  <a:gd name="T88" fmla="*/ 141 w 1999"/>
                  <a:gd name="T89" fmla="*/ 801 h 1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999" h="1744">
                    <a:moveTo>
                      <a:pt x="1988" y="879"/>
                    </a:moveTo>
                    <a:cubicBezTo>
                      <a:pt x="1988" y="879"/>
                      <a:pt x="1988" y="879"/>
                      <a:pt x="1988" y="879"/>
                    </a:cubicBezTo>
                    <a:cubicBezTo>
                      <a:pt x="1969" y="840"/>
                      <a:pt x="1921" y="823"/>
                      <a:pt x="1881" y="842"/>
                    </a:cubicBezTo>
                    <a:cubicBezTo>
                      <a:pt x="1433" y="1057"/>
                      <a:pt x="1433" y="1057"/>
                      <a:pt x="1433" y="1057"/>
                    </a:cubicBezTo>
                    <a:cubicBezTo>
                      <a:pt x="1280" y="890"/>
                      <a:pt x="1049" y="891"/>
                      <a:pt x="1003" y="893"/>
                    </a:cubicBezTo>
                    <a:cubicBezTo>
                      <a:pt x="1002" y="893"/>
                      <a:pt x="1001" y="893"/>
                      <a:pt x="1001" y="893"/>
                    </a:cubicBezTo>
                    <a:cubicBezTo>
                      <a:pt x="947" y="891"/>
                      <a:pt x="724" y="894"/>
                      <a:pt x="575" y="1057"/>
                    </a:cubicBezTo>
                    <a:cubicBezTo>
                      <a:pt x="126" y="842"/>
                      <a:pt x="126" y="842"/>
                      <a:pt x="126" y="842"/>
                    </a:cubicBezTo>
                    <a:cubicBezTo>
                      <a:pt x="86" y="823"/>
                      <a:pt x="38" y="840"/>
                      <a:pt x="19" y="880"/>
                    </a:cubicBezTo>
                    <a:cubicBezTo>
                      <a:pt x="0" y="920"/>
                      <a:pt x="17" y="967"/>
                      <a:pt x="57" y="986"/>
                    </a:cubicBezTo>
                    <a:cubicBezTo>
                      <a:pt x="468" y="1184"/>
                      <a:pt x="468" y="1184"/>
                      <a:pt x="468" y="1184"/>
                    </a:cubicBezTo>
                    <a:cubicBezTo>
                      <a:pt x="421" y="1220"/>
                      <a:pt x="359" y="1241"/>
                      <a:pt x="283" y="1246"/>
                    </a:cubicBezTo>
                    <a:cubicBezTo>
                      <a:pt x="276" y="1246"/>
                      <a:pt x="269" y="1250"/>
                      <a:pt x="265" y="1257"/>
                    </a:cubicBezTo>
                    <a:cubicBezTo>
                      <a:pt x="262" y="1263"/>
                      <a:pt x="261" y="1271"/>
                      <a:pt x="265" y="1277"/>
                    </a:cubicBezTo>
                    <a:cubicBezTo>
                      <a:pt x="313" y="1377"/>
                      <a:pt x="383" y="1468"/>
                      <a:pt x="467" y="1541"/>
                    </a:cubicBezTo>
                    <a:cubicBezTo>
                      <a:pt x="390" y="1580"/>
                      <a:pt x="390" y="1580"/>
                      <a:pt x="390" y="1580"/>
                    </a:cubicBezTo>
                    <a:cubicBezTo>
                      <a:pt x="351" y="1600"/>
                      <a:pt x="335" y="1649"/>
                      <a:pt x="355" y="1688"/>
                    </a:cubicBezTo>
                    <a:cubicBezTo>
                      <a:pt x="375" y="1727"/>
                      <a:pt x="423" y="1743"/>
                      <a:pt x="463" y="1723"/>
                    </a:cubicBezTo>
                    <a:cubicBezTo>
                      <a:pt x="617" y="1645"/>
                      <a:pt x="617" y="1645"/>
                      <a:pt x="617" y="1645"/>
                    </a:cubicBezTo>
                    <a:cubicBezTo>
                      <a:pt x="735" y="1708"/>
                      <a:pt x="868" y="1743"/>
                      <a:pt x="1003" y="1744"/>
                    </a:cubicBezTo>
                    <a:cubicBezTo>
                      <a:pt x="1003" y="1744"/>
                      <a:pt x="1003" y="1744"/>
                      <a:pt x="1003" y="1744"/>
                    </a:cubicBezTo>
                    <a:cubicBezTo>
                      <a:pt x="1005" y="1744"/>
                      <a:pt x="1006" y="1744"/>
                      <a:pt x="1008" y="1743"/>
                    </a:cubicBezTo>
                    <a:cubicBezTo>
                      <a:pt x="1141" y="1742"/>
                      <a:pt x="1273" y="1708"/>
                      <a:pt x="1391" y="1644"/>
                    </a:cubicBezTo>
                    <a:cubicBezTo>
                      <a:pt x="1545" y="1723"/>
                      <a:pt x="1545" y="1723"/>
                      <a:pt x="1545" y="1723"/>
                    </a:cubicBezTo>
                    <a:cubicBezTo>
                      <a:pt x="1564" y="1732"/>
                      <a:pt x="1585" y="1734"/>
                      <a:pt x="1606" y="1727"/>
                    </a:cubicBezTo>
                    <a:cubicBezTo>
                      <a:pt x="1626" y="1721"/>
                      <a:pt x="1643" y="1707"/>
                      <a:pt x="1652" y="1688"/>
                    </a:cubicBezTo>
                    <a:cubicBezTo>
                      <a:pt x="1672" y="1648"/>
                      <a:pt x="1657" y="1600"/>
                      <a:pt x="1617" y="1580"/>
                    </a:cubicBezTo>
                    <a:cubicBezTo>
                      <a:pt x="1540" y="1541"/>
                      <a:pt x="1540" y="1541"/>
                      <a:pt x="1540" y="1541"/>
                    </a:cubicBezTo>
                    <a:cubicBezTo>
                      <a:pt x="1624" y="1468"/>
                      <a:pt x="1694" y="1377"/>
                      <a:pt x="1743" y="1277"/>
                    </a:cubicBezTo>
                    <a:cubicBezTo>
                      <a:pt x="1746" y="1270"/>
                      <a:pt x="1746" y="1263"/>
                      <a:pt x="1742" y="1256"/>
                    </a:cubicBezTo>
                    <a:cubicBezTo>
                      <a:pt x="1738" y="1250"/>
                      <a:pt x="1732" y="1246"/>
                      <a:pt x="1724" y="1245"/>
                    </a:cubicBezTo>
                    <a:cubicBezTo>
                      <a:pt x="1648" y="1240"/>
                      <a:pt x="1586" y="1220"/>
                      <a:pt x="1539" y="1183"/>
                    </a:cubicBezTo>
                    <a:cubicBezTo>
                      <a:pt x="1951" y="986"/>
                      <a:pt x="1951" y="986"/>
                      <a:pt x="1951" y="986"/>
                    </a:cubicBezTo>
                    <a:cubicBezTo>
                      <a:pt x="1970" y="977"/>
                      <a:pt x="1984" y="961"/>
                      <a:pt x="1991" y="941"/>
                    </a:cubicBezTo>
                    <a:cubicBezTo>
                      <a:pt x="1999" y="920"/>
                      <a:pt x="1997" y="899"/>
                      <a:pt x="1988" y="879"/>
                    </a:cubicBezTo>
                    <a:close/>
                    <a:moveTo>
                      <a:pt x="1950" y="926"/>
                    </a:moveTo>
                    <a:cubicBezTo>
                      <a:pt x="1947" y="935"/>
                      <a:pt x="1940" y="942"/>
                      <a:pt x="1932" y="946"/>
                    </a:cubicBezTo>
                    <a:cubicBezTo>
                      <a:pt x="1490" y="1158"/>
                      <a:pt x="1490" y="1158"/>
                      <a:pt x="1490" y="1158"/>
                    </a:cubicBezTo>
                    <a:cubicBezTo>
                      <a:pt x="1484" y="1161"/>
                      <a:pt x="1479" y="1167"/>
                      <a:pt x="1478" y="1174"/>
                    </a:cubicBezTo>
                    <a:cubicBezTo>
                      <a:pt x="1477" y="1181"/>
                      <a:pt x="1479" y="1188"/>
                      <a:pt x="1484" y="1193"/>
                    </a:cubicBezTo>
                    <a:cubicBezTo>
                      <a:pt x="1535" y="1244"/>
                      <a:pt x="1603" y="1275"/>
                      <a:pt x="1689" y="1286"/>
                    </a:cubicBezTo>
                    <a:cubicBezTo>
                      <a:pt x="1639" y="1379"/>
                      <a:pt x="1569" y="1462"/>
                      <a:pt x="1487" y="1528"/>
                    </a:cubicBezTo>
                    <a:cubicBezTo>
                      <a:pt x="1481" y="1533"/>
                      <a:pt x="1478" y="1540"/>
                      <a:pt x="1479" y="1548"/>
                    </a:cubicBezTo>
                    <a:cubicBezTo>
                      <a:pt x="1479" y="1555"/>
                      <a:pt x="1484" y="1562"/>
                      <a:pt x="1491" y="1565"/>
                    </a:cubicBezTo>
                    <a:cubicBezTo>
                      <a:pt x="1597" y="1619"/>
                      <a:pt x="1597" y="1619"/>
                      <a:pt x="1597" y="1619"/>
                    </a:cubicBezTo>
                    <a:cubicBezTo>
                      <a:pt x="1615" y="1628"/>
                      <a:pt x="1622" y="1650"/>
                      <a:pt x="1613" y="1668"/>
                    </a:cubicBezTo>
                    <a:cubicBezTo>
                      <a:pt x="1609" y="1676"/>
                      <a:pt x="1601" y="1683"/>
                      <a:pt x="1592" y="1686"/>
                    </a:cubicBezTo>
                    <a:cubicBezTo>
                      <a:pt x="1583" y="1688"/>
                      <a:pt x="1573" y="1688"/>
                      <a:pt x="1565" y="1683"/>
                    </a:cubicBezTo>
                    <a:cubicBezTo>
                      <a:pt x="1400" y="1600"/>
                      <a:pt x="1400" y="1600"/>
                      <a:pt x="1400" y="1600"/>
                    </a:cubicBezTo>
                    <a:cubicBezTo>
                      <a:pt x="1394" y="1596"/>
                      <a:pt x="1386" y="1597"/>
                      <a:pt x="1380" y="1600"/>
                    </a:cubicBezTo>
                    <a:cubicBezTo>
                      <a:pt x="1267" y="1663"/>
                      <a:pt x="1140" y="1697"/>
                      <a:pt x="1010" y="1699"/>
                    </a:cubicBezTo>
                    <a:cubicBezTo>
                      <a:pt x="1010" y="1699"/>
                      <a:pt x="1009" y="1699"/>
                      <a:pt x="1009" y="1699"/>
                    </a:cubicBezTo>
                    <a:cubicBezTo>
                      <a:pt x="1005" y="1698"/>
                      <a:pt x="1000" y="1698"/>
                      <a:pt x="996" y="1700"/>
                    </a:cubicBezTo>
                    <a:cubicBezTo>
                      <a:pt x="867" y="1697"/>
                      <a:pt x="740" y="1663"/>
                      <a:pt x="628" y="1601"/>
                    </a:cubicBezTo>
                    <a:cubicBezTo>
                      <a:pt x="624" y="1599"/>
                      <a:pt x="621" y="1598"/>
                      <a:pt x="617" y="1598"/>
                    </a:cubicBezTo>
                    <a:cubicBezTo>
                      <a:pt x="614" y="1598"/>
                      <a:pt x="610" y="1599"/>
                      <a:pt x="607" y="1600"/>
                    </a:cubicBezTo>
                    <a:cubicBezTo>
                      <a:pt x="443" y="1684"/>
                      <a:pt x="443" y="1684"/>
                      <a:pt x="443" y="1684"/>
                    </a:cubicBezTo>
                    <a:cubicBezTo>
                      <a:pt x="425" y="1693"/>
                      <a:pt x="403" y="1686"/>
                      <a:pt x="394" y="1668"/>
                    </a:cubicBezTo>
                    <a:cubicBezTo>
                      <a:pt x="385" y="1650"/>
                      <a:pt x="392" y="1629"/>
                      <a:pt x="410" y="1620"/>
                    </a:cubicBezTo>
                    <a:cubicBezTo>
                      <a:pt x="517" y="1565"/>
                      <a:pt x="517" y="1565"/>
                      <a:pt x="517" y="1565"/>
                    </a:cubicBezTo>
                    <a:cubicBezTo>
                      <a:pt x="523" y="1562"/>
                      <a:pt x="528" y="1555"/>
                      <a:pt x="529" y="1548"/>
                    </a:cubicBezTo>
                    <a:cubicBezTo>
                      <a:pt x="529" y="1540"/>
                      <a:pt x="526" y="1533"/>
                      <a:pt x="521" y="1528"/>
                    </a:cubicBezTo>
                    <a:cubicBezTo>
                      <a:pt x="438" y="1463"/>
                      <a:pt x="369" y="1379"/>
                      <a:pt x="319" y="1287"/>
                    </a:cubicBezTo>
                    <a:cubicBezTo>
                      <a:pt x="404" y="1276"/>
                      <a:pt x="473" y="1244"/>
                      <a:pt x="523" y="1194"/>
                    </a:cubicBezTo>
                    <a:cubicBezTo>
                      <a:pt x="528" y="1189"/>
                      <a:pt x="531" y="1181"/>
                      <a:pt x="530" y="1174"/>
                    </a:cubicBezTo>
                    <a:cubicBezTo>
                      <a:pt x="528" y="1167"/>
                      <a:pt x="524" y="1161"/>
                      <a:pt x="517" y="1158"/>
                    </a:cubicBezTo>
                    <a:cubicBezTo>
                      <a:pt x="76" y="947"/>
                      <a:pt x="76" y="947"/>
                      <a:pt x="76" y="947"/>
                    </a:cubicBezTo>
                    <a:cubicBezTo>
                      <a:pt x="67" y="943"/>
                      <a:pt x="61" y="935"/>
                      <a:pt x="57" y="926"/>
                    </a:cubicBezTo>
                    <a:cubicBezTo>
                      <a:pt x="54" y="917"/>
                      <a:pt x="55" y="907"/>
                      <a:pt x="59" y="899"/>
                    </a:cubicBezTo>
                    <a:cubicBezTo>
                      <a:pt x="67" y="881"/>
                      <a:pt x="89" y="873"/>
                      <a:pt x="107" y="882"/>
                    </a:cubicBezTo>
                    <a:cubicBezTo>
                      <a:pt x="561" y="1099"/>
                      <a:pt x="561" y="1099"/>
                      <a:pt x="561" y="1099"/>
                    </a:cubicBezTo>
                    <a:cubicBezTo>
                      <a:pt x="562" y="1100"/>
                      <a:pt x="564" y="1101"/>
                      <a:pt x="566" y="1103"/>
                    </a:cubicBezTo>
                    <a:cubicBezTo>
                      <a:pt x="576" y="1109"/>
                      <a:pt x="589" y="1108"/>
                      <a:pt x="596" y="1099"/>
                    </a:cubicBezTo>
                    <a:cubicBezTo>
                      <a:pt x="728" y="942"/>
                      <a:pt x="937" y="935"/>
                      <a:pt x="995" y="937"/>
                    </a:cubicBezTo>
                    <a:cubicBezTo>
                      <a:pt x="999" y="939"/>
                      <a:pt x="1003" y="939"/>
                      <a:pt x="1008" y="939"/>
                    </a:cubicBezTo>
                    <a:cubicBezTo>
                      <a:pt x="1010" y="938"/>
                      <a:pt x="1012" y="937"/>
                      <a:pt x="1014" y="936"/>
                    </a:cubicBezTo>
                    <a:cubicBezTo>
                      <a:pt x="1074" y="935"/>
                      <a:pt x="1280" y="943"/>
                      <a:pt x="1411" y="1099"/>
                    </a:cubicBezTo>
                    <a:cubicBezTo>
                      <a:pt x="1419" y="1108"/>
                      <a:pt x="1432" y="1109"/>
                      <a:pt x="1441" y="1102"/>
                    </a:cubicBezTo>
                    <a:cubicBezTo>
                      <a:pt x="1443" y="1101"/>
                      <a:pt x="1445" y="1100"/>
                      <a:pt x="1447" y="1099"/>
                    </a:cubicBezTo>
                    <a:cubicBezTo>
                      <a:pt x="1900" y="881"/>
                      <a:pt x="1900" y="881"/>
                      <a:pt x="1900" y="881"/>
                    </a:cubicBezTo>
                    <a:cubicBezTo>
                      <a:pt x="1918" y="873"/>
                      <a:pt x="1940" y="880"/>
                      <a:pt x="1948" y="898"/>
                    </a:cubicBezTo>
                    <a:cubicBezTo>
                      <a:pt x="1953" y="907"/>
                      <a:pt x="1953" y="917"/>
                      <a:pt x="1950" y="926"/>
                    </a:cubicBezTo>
                    <a:close/>
                    <a:moveTo>
                      <a:pt x="1003" y="44"/>
                    </a:moveTo>
                    <a:cubicBezTo>
                      <a:pt x="1444" y="44"/>
                      <a:pt x="1809" y="374"/>
                      <a:pt x="1865" y="801"/>
                    </a:cubicBezTo>
                    <a:cubicBezTo>
                      <a:pt x="1878" y="795"/>
                      <a:pt x="1893" y="791"/>
                      <a:pt x="1908" y="790"/>
                    </a:cubicBezTo>
                    <a:cubicBezTo>
                      <a:pt x="1881" y="593"/>
                      <a:pt x="1792" y="410"/>
                      <a:pt x="1648" y="268"/>
                    </a:cubicBezTo>
                    <a:cubicBezTo>
                      <a:pt x="1476" y="95"/>
                      <a:pt x="1247" y="0"/>
                      <a:pt x="1003" y="0"/>
                    </a:cubicBezTo>
                    <a:cubicBezTo>
                      <a:pt x="759" y="0"/>
                      <a:pt x="529" y="95"/>
                      <a:pt x="358" y="268"/>
                    </a:cubicBezTo>
                    <a:cubicBezTo>
                      <a:pt x="214" y="411"/>
                      <a:pt x="125" y="593"/>
                      <a:pt x="98" y="791"/>
                    </a:cubicBezTo>
                    <a:cubicBezTo>
                      <a:pt x="113" y="791"/>
                      <a:pt x="127" y="795"/>
                      <a:pt x="141" y="801"/>
                    </a:cubicBezTo>
                    <a:cubicBezTo>
                      <a:pt x="197" y="374"/>
                      <a:pt x="562" y="44"/>
                      <a:pt x="1003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47"/>
              <p:cNvSpPr>
                <a:spLocks noEditPoints="1"/>
              </p:cNvSpPr>
              <p:nvPr/>
            </p:nvSpPr>
            <p:spPr bwMode="auto">
              <a:xfrm>
                <a:off x="-6502500" y="-1066292"/>
                <a:ext cx="4883149" cy="3378198"/>
              </a:xfrm>
              <a:custGeom>
                <a:avLst/>
                <a:gdLst>
                  <a:gd name="T0" fmla="*/ 98 w 1641"/>
                  <a:gd name="T1" fmla="*/ 1115 h 1135"/>
                  <a:gd name="T2" fmla="*/ 17 w 1641"/>
                  <a:gd name="T3" fmla="*/ 1016 h 1135"/>
                  <a:gd name="T4" fmla="*/ 421 w 1641"/>
                  <a:gd name="T5" fmla="*/ 278 h 1135"/>
                  <a:gd name="T6" fmla="*/ 458 w 1641"/>
                  <a:gd name="T7" fmla="*/ 209 h 1135"/>
                  <a:gd name="T8" fmla="*/ 239 w 1641"/>
                  <a:gd name="T9" fmla="*/ 241 h 1135"/>
                  <a:gd name="T10" fmla="*/ 421 w 1641"/>
                  <a:gd name="T11" fmla="*/ 278 h 1135"/>
                  <a:gd name="T12" fmla="*/ 207 w 1641"/>
                  <a:gd name="T13" fmla="*/ 274 h 1135"/>
                  <a:gd name="T14" fmla="*/ 150 w 1641"/>
                  <a:gd name="T15" fmla="*/ 805 h 1135"/>
                  <a:gd name="T16" fmla="*/ 313 w 1641"/>
                  <a:gd name="T17" fmla="*/ 770 h 1135"/>
                  <a:gd name="T18" fmla="*/ 360 w 1641"/>
                  <a:gd name="T19" fmla="*/ 343 h 1135"/>
                  <a:gd name="T20" fmla="*/ 1172 w 1641"/>
                  <a:gd name="T21" fmla="*/ 849 h 1135"/>
                  <a:gd name="T22" fmla="*/ 1284 w 1641"/>
                  <a:gd name="T23" fmla="*/ 905 h 1135"/>
                  <a:gd name="T24" fmla="*/ 1251 w 1641"/>
                  <a:gd name="T25" fmla="*/ 849 h 1135"/>
                  <a:gd name="T26" fmla="*/ 1588 w 1641"/>
                  <a:gd name="T27" fmla="*/ 1134 h 1135"/>
                  <a:gd name="T28" fmla="*/ 1455 w 1641"/>
                  <a:gd name="T29" fmla="*/ 1098 h 1135"/>
                  <a:gd name="T30" fmla="*/ 277 w 1641"/>
                  <a:gd name="T31" fmla="*/ 849 h 1135"/>
                  <a:gd name="T32" fmla="*/ 300 w 1641"/>
                  <a:gd name="T33" fmla="*/ 877 h 1135"/>
                  <a:gd name="T34" fmla="*/ 1184 w 1641"/>
                  <a:gd name="T35" fmla="*/ 209 h 1135"/>
                  <a:gd name="T36" fmla="*/ 1222 w 1641"/>
                  <a:gd name="T37" fmla="*/ 278 h 1135"/>
                  <a:gd name="T38" fmla="*/ 1403 w 1641"/>
                  <a:gd name="T39" fmla="*/ 241 h 1135"/>
                  <a:gd name="T40" fmla="*/ 1184 w 1641"/>
                  <a:gd name="T41" fmla="*/ 209 h 1135"/>
                  <a:gd name="T42" fmla="*/ 1161 w 1641"/>
                  <a:gd name="T43" fmla="*/ 334 h 1135"/>
                  <a:gd name="T44" fmla="*/ 1146 w 1641"/>
                  <a:gd name="T45" fmla="*/ 231 h 1135"/>
                  <a:gd name="T46" fmla="*/ 843 w 1641"/>
                  <a:gd name="T47" fmla="*/ 0 h 1135"/>
                  <a:gd name="T48" fmla="*/ 877 w 1641"/>
                  <a:gd name="T49" fmla="*/ 373 h 1135"/>
                  <a:gd name="T50" fmla="*/ 463 w 1641"/>
                  <a:gd name="T51" fmla="*/ 296 h 1135"/>
                  <a:gd name="T52" fmla="*/ 765 w 1641"/>
                  <a:gd name="T53" fmla="*/ 373 h 1135"/>
                  <a:gd name="T54" fmla="*/ 799 w 1641"/>
                  <a:gd name="T55" fmla="*/ 0 h 1135"/>
                  <a:gd name="T56" fmla="*/ 496 w 1641"/>
                  <a:gd name="T57" fmla="*/ 231 h 1135"/>
                  <a:gd name="T58" fmla="*/ 1493 w 1641"/>
                  <a:gd name="T59" fmla="*/ 805 h 1135"/>
                  <a:gd name="T60" fmla="*/ 1435 w 1641"/>
                  <a:gd name="T61" fmla="*/ 274 h 1135"/>
                  <a:gd name="T62" fmla="*/ 1262 w 1641"/>
                  <a:gd name="T63" fmla="*/ 386 h 1135"/>
                  <a:gd name="T64" fmla="*/ 1365 w 1641"/>
                  <a:gd name="T65" fmla="*/ 805 h 1135"/>
                  <a:gd name="T66" fmla="*/ 1401 w 1641"/>
                  <a:gd name="T67" fmla="*/ 849 h 1135"/>
                  <a:gd name="T68" fmla="*/ 1341 w 1641"/>
                  <a:gd name="T69" fmla="*/ 878 h 1135"/>
                  <a:gd name="T70" fmla="*/ 358 w 1641"/>
                  <a:gd name="T71" fmla="*/ 905 h 1135"/>
                  <a:gd name="T72" fmla="*/ 472 w 1641"/>
                  <a:gd name="T73" fmla="*/ 849 h 1135"/>
                  <a:gd name="T74" fmla="*/ 357 w 1641"/>
                  <a:gd name="T75" fmla="*/ 883 h 1135"/>
                  <a:gd name="T76" fmla="*/ 878 w 1641"/>
                  <a:gd name="T77" fmla="*/ 417 h 1135"/>
                  <a:gd name="T78" fmla="*/ 843 w 1641"/>
                  <a:gd name="T79" fmla="*/ 761 h 1135"/>
                  <a:gd name="T80" fmla="*/ 1251 w 1641"/>
                  <a:gd name="T81" fmla="*/ 805 h 1135"/>
                  <a:gd name="T82" fmla="*/ 1220 w 1641"/>
                  <a:gd name="T83" fmla="*/ 401 h 1135"/>
                  <a:gd name="T84" fmla="*/ 764 w 1641"/>
                  <a:gd name="T85" fmla="*/ 417 h 1135"/>
                  <a:gd name="T86" fmla="*/ 422 w 1641"/>
                  <a:gd name="T87" fmla="*/ 401 h 1135"/>
                  <a:gd name="T88" fmla="*/ 391 w 1641"/>
                  <a:gd name="T89" fmla="*/ 805 h 1135"/>
                  <a:gd name="T90" fmla="*/ 799 w 1641"/>
                  <a:gd name="T91" fmla="*/ 762 h 1135"/>
                  <a:gd name="T92" fmla="*/ 764 w 1641"/>
                  <a:gd name="T93" fmla="*/ 417 h 1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1" h="1135">
                    <a:moveTo>
                      <a:pt x="55" y="1135"/>
                    </a:moveTo>
                    <a:cubicBezTo>
                      <a:pt x="66" y="1123"/>
                      <a:pt x="81" y="1116"/>
                      <a:pt x="98" y="1115"/>
                    </a:cubicBezTo>
                    <a:cubicBezTo>
                      <a:pt x="131" y="1113"/>
                      <a:pt x="161" y="1107"/>
                      <a:pt x="188" y="1098"/>
                    </a:cubicBezTo>
                    <a:cubicBezTo>
                      <a:pt x="17" y="1016"/>
                      <a:pt x="17" y="1016"/>
                      <a:pt x="17" y="1016"/>
                    </a:cubicBezTo>
                    <a:cubicBezTo>
                      <a:pt x="27" y="1057"/>
                      <a:pt x="39" y="1097"/>
                      <a:pt x="55" y="1135"/>
                    </a:cubicBezTo>
                    <a:close/>
                    <a:moveTo>
                      <a:pt x="421" y="278"/>
                    </a:moveTo>
                    <a:cubicBezTo>
                      <a:pt x="422" y="278"/>
                      <a:pt x="422" y="278"/>
                      <a:pt x="422" y="278"/>
                    </a:cubicBezTo>
                    <a:cubicBezTo>
                      <a:pt x="433" y="254"/>
                      <a:pt x="445" y="231"/>
                      <a:pt x="458" y="209"/>
                    </a:cubicBezTo>
                    <a:cubicBezTo>
                      <a:pt x="501" y="133"/>
                      <a:pt x="551" y="73"/>
                      <a:pt x="605" y="29"/>
                    </a:cubicBezTo>
                    <a:cubicBezTo>
                      <a:pt x="465" y="67"/>
                      <a:pt x="339" y="141"/>
                      <a:pt x="239" y="241"/>
                    </a:cubicBezTo>
                    <a:cubicBezTo>
                      <a:pt x="280" y="263"/>
                      <a:pt x="326" y="283"/>
                      <a:pt x="373" y="301"/>
                    </a:cubicBezTo>
                    <a:cubicBezTo>
                      <a:pt x="385" y="287"/>
                      <a:pt x="402" y="278"/>
                      <a:pt x="421" y="278"/>
                    </a:cubicBezTo>
                    <a:close/>
                    <a:moveTo>
                      <a:pt x="360" y="343"/>
                    </a:moveTo>
                    <a:cubicBezTo>
                      <a:pt x="305" y="324"/>
                      <a:pt x="254" y="301"/>
                      <a:pt x="207" y="274"/>
                    </a:cubicBezTo>
                    <a:cubicBezTo>
                      <a:pt x="95" y="399"/>
                      <a:pt x="21" y="558"/>
                      <a:pt x="0" y="733"/>
                    </a:cubicBezTo>
                    <a:cubicBezTo>
                      <a:pt x="150" y="805"/>
                      <a:pt x="150" y="805"/>
                      <a:pt x="150" y="805"/>
                    </a:cubicBezTo>
                    <a:cubicBezTo>
                      <a:pt x="277" y="805"/>
                      <a:pt x="277" y="805"/>
                      <a:pt x="277" y="805"/>
                    </a:cubicBezTo>
                    <a:cubicBezTo>
                      <a:pt x="284" y="789"/>
                      <a:pt x="297" y="776"/>
                      <a:pt x="313" y="770"/>
                    </a:cubicBezTo>
                    <a:cubicBezTo>
                      <a:pt x="318" y="633"/>
                      <a:pt x="341" y="502"/>
                      <a:pt x="380" y="386"/>
                    </a:cubicBezTo>
                    <a:cubicBezTo>
                      <a:pt x="368" y="375"/>
                      <a:pt x="361" y="360"/>
                      <a:pt x="360" y="343"/>
                    </a:cubicBezTo>
                    <a:close/>
                    <a:moveTo>
                      <a:pt x="1251" y="849"/>
                    </a:moveTo>
                    <a:cubicBezTo>
                      <a:pt x="1172" y="849"/>
                      <a:pt x="1172" y="849"/>
                      <a:pt x="1172" y="849"/>
                    </a:cubicBezTo>
                    <a:cubicBezTo>
                      <a:pt x="1202" y="867"/>
                      <a:pt x="1232" y="890"/>
                      <a:pt x="1260" y="916"/>
                    </a:cubicBezTo>
                    <a:cubicBezTo>
                      <a:pt x="1284" y="905"/>
                      <a:pt x="1284" y="905"/>
                      <a:pt x="1284" y="905"/>
                    </a:cubicBezTo>
                    <a:cubicBezTo>
                      <a:pt x="1284" y="898"/>
                      <a:pt x="1284" y="890"/>
                      <a:pt x="1285" y="883"/>
                    </a:cubicBezTo>
                    <a:cubicBezTo>
                      <a:pt x="1269" y="877"/>
                      <a:pt x="1257" y="865"/>
                      <a:pt x="1251" y="849"/>
                    </a:cubicBezTo>
                    <a:close/>
                    <a:moveTo>
                      <a:pt x="1545" y="1115"/>
                    </a:moveTo>
                    <a:cubicBezTo>
                      <a:pt x="1561" y="1116"/>
                      <a:pt x="1576" y="1123"/>
                      <a:pt x="1588" y="1134"/>
                    </a:cubicBezTo>
                    <a:cubicBezTo>
                      <a:pt x="1603" y="1096"/>
                      <a:pt x="1615" y="1057"/>
                      <a:pt x="1625" y="1017"/>
                    </a:cubicBezTo>
                    <a:cubicBezTo>
                      <a:pt x="1455" y="1098"/>
                      <a:pt x="1455" y="1098"/>
                      <a:pt x="1455" y="1098"/>
                    </a:cubicBezTo>
                    <a:cubicBezTo>
                      <a:pt x="1482" y="1107"/>
                      <a:pt x="1512" y="1112"/>
                      <a:pt x="1545" y="1115"/>
                    </a:cubicBezTo>
                    <a:close/>
                    <a:moveTo>
                      <a:pt x="277" y="849"/>
                    </a:moveTo>
                    <a:cubicBezTo>
                      <a:pt x="242" y="849"/>
                      <a:pt x="242" y="849"/>
                      <a:pt x="242" y="849"/>
                    </a:cubicBezTo>
                    <a:cubicBezTo>
                      <a:pt x="300" y="877"/>
                      <a:pt x="300" y="877"/>
                      <a:pt x="300" y="877"/>
                    </a:cubicBezTo>
                    <a:cubicBezTo>
                      <a:pt x="290" y="870"/>
                      <a:pt x="282" y="860"/>
                      <a:pt x="277" y="849"/>
                    </a:cubicBezTo>
                    <a:close/>
                    <a:moveTo>
                      <a:pt x="1184" y="209"/>
                    </a:moveTo>
                    <a:cubicBezTo>
                      <a:pt x="1197" y="231"/>
                      <a:pt x="1209" y="254"/>
                      <a:pt x="1220" y="278"/>
                    </a:cubicBezTo>
                    <a:cubicBezTo>
                      <a:pt x="1220" y="278"/>
                      <a:pt x="1221" y="278"/>
                      <a:pt x="1222" y="278"/>
                    </a:cubicBezTo>
                    <a:cubicBezTo>
                      <a:pt x="1240" y="278"/>
                      <a:pt x="1257" y="287"/>
                      <a:pt x="1269" y="301"/>
                    </a:cubicBezTo>
                    <a:cubicBezTo>
                      <a:pt x="1316" y="283"/>
                      <a:pt x="1362" y="263"/>
                      <a:pt x="1403" y="241"/>
                    </a:cubicBezTo>
                    <a:cubicBezTo>
                      <a:pt x="1303" y="141"/>
                      <a:pt x="1177" y="67"/>
                      <a:pt x="1037" y="29"/>
                    </a:cubicBezTo>
                    <a:cubicBezTo>
                      <a:pt x="1091" y="73"/>
                      <a:pt x="1141" y="133"/>
                      <a:pt x="1184" y="209"/>
                    </a:cubicBezTo>
                    <a:close/>
                    <a:moveTo>
                      <a:pt x="877" y="373"/>
                    </a:moveTo>
                    <a:cubicBezTo>
                      <a:pt x="976" y="369"/>
                      <a:pt x="1072" y="356"/>
                      <a:pt x="1161" y="334"/>
                    </a:cubicBezTo>
                    <a:cubicBezTo>
                      <a:pt x="1162" y="319"/>
                      <a:pt x="1169" y="306"/>
                      <a:pt x="1179" y="296"/>
                    </a:cubicBezTo>
                    <a:cubicBezTo>
                      <a:pt x="1169" y="273"/>
                      <a:pt x="1158" y="251"/>
                      <a:pt x="1146" y="231"/>
                    </a:cubicBezTo>
                    <a:cubicBezTo>
                      <a:pt x="1078" y="112"/>
                      <a:pt x="995" y="34"/>
                      <a:pt x="904" y="4"/>
                    </a:cubicBezTo>
                    <a:cubicBezTo>
                      <a:pt x="884" y="2"/>
                      <a:pt x="864" y="1"/>
                      <a:pt x="843" y="0"/>
                    </a:cubicBezTo>
                    <a:cubicBezTo>
                      <a:pt x="843" y="339"/>
                      <a:pt x="843" y="339"/>
                      <a:pt x="843" y="339"/>
                    </a:cubicBezTo>
                    <a:cubicBezTo>
                      <a:pt x="859" y="345"/>
                      <a:pt x="871" y="357"/>
                      <a:pt x="877" y="373"/>
                    </a:cubicBezTo>
                    <a:close/>
                    <a:moveTo>
                      <a:pt x="496" y="231"/>
                    </a:moveTo>
                    <a:cubicBezTo>
                      <a:pt x="484" y="251"/>
                      <a:pt x="473" y="273"/>
                      <a:pt x="463" y="296"/>
                    </a:cubicBezTo>
                    <a:cubicBezTo>
                      <a:pt x="473" y="306"/>
                      <a:pt x="480" y="319"/>
                      <a:pt x="481" y="334"/>
                    </a:cubicBezTo>
                    <a:cubicBezTo>
                      <a:pt x="570" y="356"/>
                      <a:pt x="666" y="369"/>
                      <a:pt x="765" y="373"/>
                    </a:cubicBezTo>
                    <a:cubicBezTo>
                      <a:pt x="771" y="357"/>
                      <a:pt x="783" y="345"/>
                      <a:pt x="799" y="339"/>
                    </a:cubicBezTo>
                    <a:cubicBezTo>
                      <a:pt x="799" y="0"/>
                      <a:pt x="799" y="0"/>
                      <a:pt x="799" y="0"/>
                    </a:cubicBezTo>
                    <a:cubicBezTo>
                      <a:pt x="778" y="1"/>
                      <a:pt x="758" y="2"/>
                      <a:pt x="738" y="4"/>
                    </a:cubicBezTo>
                    <a:cubicBezTo>
                      <a:pt x="647" y="34"/>
                      <a:pt x="564" y="112"/>
                      <a:pt x="496" y="231"/>
                    </a:cubicBezTo>
                    <a:close/>
                    <a:moveTo>
                      <a:pt x="1365" y="805"/>
                    </a:moveTo>
                    <a:cubicBezTo>
                      <a:pt x="1493" y="805"/>
                      <a:pt x="1493" y="805"/>
                      <a:pt x="1493" y="805"/>
                    </a:cubicBezTo>
                    <a:cubicBezTo>
                      <a:pt x="1641" y="734"/>
                      <a:pt x="1641" y="734"/>
                      <a:pt x="1641" y="734"/>
                    </a:cubicBezTo>
                    <a:cubicBezTo>
                      <a:pt x="1621" y="558"/>
                      <a:pt x="1547" y="399"/>
                      <a:pt x="1435" y="274"/>
                    </a:cubicBezTo>
                    <a:cubicBezTo>
                      <a:pt x="1388" y="301"/>
                      <a:pt x="1337" y="324"/>
                      <a:pt x="1282" y="343"/>
                    </a:cubicBezTo>
                    <a:cubicBezTo>
                      <a:pt x="1281" y="360"/>
                      <a:pt x="1274" y="375"/>
                      <a:pt x="1262" y="386"/>
                    </a:cubicBezTo>
                    <a:cubicBezTo>
                      <a:pt x="1301" y="502"/>
                      <a:pt x="1324" y="633"/>
                      <a:pt x="1329" y="770"/>
                    </a:cubicBezTo>
                    <a:cubicBezTo>
                      <a:pt x="1345" y="776"/>
                      <a:pt x="1358" y="789"/>
                      <a:pt x="1365" y="805"/>
                    </a:cubicBezTo>
                    <a:close/>
                    <a:moveTo>
                      <a:pt x="1341" y="878"/>
                    </a:moveTo>
                    <a:cubicBezTo>
                      <a:pt x="1401" y="849"/>
                      <a:pt x="1401" y="849"/>
                      <a:pt x="1401" y="849"/>
                    </a:cubicBezTo>
                    <a:cubicBezTo>
                      <a:pt x="1365" y="849"/>
                      <a:pt x="1365" y="849"/>
                      <a:pt x="1365" y="849"/>
                    </a:cubicBezTo>
                    <a:cubicBezTo>
                      <a:pt x="1360" y="861"/>
                      <a:pt x="1351" y="871"/>
                      <a:pt x="1341" y="878"/>
                    </a:cubicBezTo>
                    <a:close/>
                    <a:moveTo>
                      <a:pt x="357" y="883"/>
                    </a:moveTo>
                    <a:cubicBezTo>
                      <a:pt x="357" y="890"/>
                      <a:pt x="358" y="898"/>
                      <a:pt x="358" y="905"/>
                    </a:cubicBezTo>
                    <a:cubicBezTo>
                      <a:pt x="383" y="917"/>
                      <a:pt x="383" y="917"/>
                      <a:pt x="383" y="917"/>
                    </a:cubicBezTo>
                    <a:cubicBezTo>
                      <a:pt x="411" y="890"/>
                      <a:pt x="441" y="867"/>
                      <a:pt x="472" y="849"/>
                    </a:cubicBezTo>
                    <a:cubicBezTo>
                      <a:pt x="391" y="849"/>
                      <a:pt x="391" y="849"/>
                      <a:pt x="391" y="849"/>
                    </a:cubicBezTo>
                    <a:cubicBezTo>
                      <a:pt x="385" y="865"/>
                      <a:pt x="373" y="877"/>
                      <a:pt x="357" y="883"/>
                    </a:cubicBezTo>
                    <a:close/>
                    <a:moveTo>
                      <a:pt x="1172" y="376"/>
                    </a:moveTo>
                    <a:cubicBezTo>
                      <a:pt x="1080" y="399"/>
                      <a:pt x="981" y="413"/>
                      <a:pt x="878" y="417"/>
                    </a:cubicBezTo>
                    <a:cubicBezTo>
                      <a:pt x="872" y="433"/>
                      <a:pt x="859" y="447"/>
                      <a:pt x="843" y="453"/>
                    </a:cubicBezTo>
                    <a:cubicBezTo>
                      <a:pt x="843" y="761"/>
                      <a:pt x="843" y="761"/>
                      <a:pt x="843" y="761"/>
                    </a:cubicBezTo>
                    <a:cubicBezTo>
                      <a:pt x="893" y="762"/>
                      <a:pt x="984" y="768"/>
                      <a:pt x="1081" y="805"/>
                    </a:cubicBezTo>
                    <a:cubicBezTo>
                      <a:pt x="1251" y="805"/>
                      <a:pt x="1251" y="805"/>
                      <a:pt x="1251" y="805"/>
                    </a:cubicBezTo>
                    <a:cubicBezTo>
                      <a:pt x="1257" y="789"/>
                      <a:pt x="1269" y="777"/>
                      <a:pt x="1285" y="771"/>
                    </a:cubicBezTo>
                    <a:cubicBezTo>
                      <a:pt x="1280" y="639"/>
                      <a:pt x="1258" y="513"/>
                      <a:pt x="1220" y="401"/>
                    </a:cubicBezTo>
                    <a:cubicBezTo>
                      <a:pt x="1201" y="401"/>
                      <a:pt x="1183" y="391"/>
                      <a:pt x="1172" y="376"/>
                    </a:cubicBezTo>
                    <a:close/>
                    <a:moveTo>
                      <a:pt x="764" y="417"/>
                    </a:moveTo>
                    <a:cubicBezTo>
                      <a:pt x="661" y="413"/>
                      <a:pt x="562" y="399"/>
                      <a:pt x="470" y="376"/>
                    </a:cubicBezTo>
                    <a:cubicBezTo>
                      <a:pt x="459" y="391"/>
                      <a:pt x="441" y="401"/>
                      <a:pt x="422" y="401"/>
                    </a:cubicBezTo>
                    <a:cubicBezTo>
                      <a:pt x="384" y="513"/>
                      <a:pt x="362" y="639"/>
                      <a:pt x="357" y="771"/>
                    </a:cubicBezTo>
                    <a:cubicBezTo>
                      <a:pt x="373" y="777"/>
                      <a:pt x="385" y="789"/>
                      <a:pt x="391" y="805"/>
                    </a:cubicBezTo>
                    <a:cubicBezTo>
                      <a:pt x="563" y="805"/>
                      <a:pt x="563" y="805"/>
                      <a:pt x="563" y="805"/>
                    </a:cubicBezTo>
                    <a:cubicBezTo>
                      <a:pt x="659" y="769"/>
                      <a:pt x="749" y="762"/>
                      <a:pt x="799" y="762"/>
                    </a:cubicBezTo>
                    <a:cubicBezTo>
                      <a:pt x="799" y="453"/>
                      <a:pt x="799" y="453"/>
                      <a:pt x="799" y="453"/>
                    </a:cubicBezTo>
                    <a:cubicBezTo>
                      <a:pt x="783" y="447"/>
                      <a:pt x="770" y="433"/>
                      <a:pt x="764" y="41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72" name="Group 71"/>
          <p:cNvGrpSpPr>
            <a:grpSpLocks noChangeAspect="1"/>
          </p:cNvGrpSpPr>
          <p:nvPr/>
        </p:nvGrpSpPr>
        <p:grpSpPr>
          <a:xfrm>
            <a:off x="4404389" y="779793"/>
            <a:ext cx="754499" cy="755198"/>
            <a:chOff x="5273803" y="2606040"/>
            <a:chExt cx="1644396" cy="1645920"/>
          </a:xfrm>
        </p:grpSpPr>
        <p:sp>
          <p:nvSpPr>
            <p:cNvPr id="73" name="AutoShape 28">
              <a:extLst>
                <a:ext uri="{FF2B5EF4-FFF2-40B4-BE49-F238E27FC236}">
                  <a16:creationId xmlns:a16="http://schemas.microsoft.com/office/drawing/2014/main" id="{E4C98EA1-A8E5-4D66-9559-F0CCEDD220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5444491" y="2777490"/>
              <a:ext cx="1303020" cy="1301496"/>
              <a:chOff x="5444491" y="2777490"/>
              <a:chExt cx="1303020" cy="1301496"/>
            </a:xfrm>
          </p:grpSpPr>
          <p:sp>
            <p:nvSpPr>
              <p:cNvPr id="75" name="Freeform 30">
                <a:extLst>
                  <a:ext uri="{FF2B5EF4-FFF2-40B4-BE49-F238E27FC236}">
                    <a16:creationId xmlns:a16="http://schemas.microsoft.com/office/drawing/2014/main" id="{53369029-05B5-4FE5-A235-67CFC38663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4491" y="2777490"/>
                <a:ext cx="1303020" cy="1301496"/>
              </a:xfrm>
              <a:custGeom>
                <a:avLst/>
                <a:gdLst>
                  <a:gd name="T0" fmla="*/ 144 w 1826"/>
                  <a:gd name="T1" fmla="*/ 288 h 1822"/>
                  <a:gd name="T2" fmla="*/ 144 w 1826"/>
                  <a:gd name="T3" fmla="*/ 0 h 1822"/>
                  <a:gd name="T4" fmla="*/ 1682 w 1826"/>
                  <a:gd name="T5" fmla="*/ 0 h 1822"/>
                  <a:gd name="T6" fmla="*/ 1682 w 1826"/>
                  <a:gd name="T7" fmla="*/ 288 h 1822"/>
                  <a:gd name="T8" fmla="*/ 1682 w 1826"/>
                  <a:gd name="T9" fmla="*/ 0 h 1822"/>
                  <a:gd name="T10" fmla="*/ 0 w 1826"/>
                  <a:gd name="T11" fmla="*/ 1678 h 1822"/>
                  <a:gd name="T12" fmla="*/ 288 w 1826"/>
                  <a:gd name="T13" fmla="*/ 1678 h 1822"/>
                  <a:gd name="T14" fmla="*/ 1682 w 1826"/>
                  <a:gd name="T15" fmla="*/ 1534 h 1822"/>
                  <a:gd name="T16" fmla="*/ 1682 w 1826"/>
                  <a:gd name="T17" fmla="*/ 1822 h 1822"/>
                  <a:gd name="T18" fmla="*/ 1682 w 1826"/>
                  <a:gd name="T19" fmla="*/ 1534 h 1822"/>
                  <a:gd name="T20" fmla="*/ 913 w 1826"/>
                  <a:gd name="T21" fmla="*/ 1577 h 1822"/>
                  <a:gd name="T22" fmla="*/ 913 w 1826"/>
                  <a:gd name="T23" fmla="*/ 245 h 1822"/>
                  <a:gd name="T24" fmla="*/ 1076 w 1826"/>
                  <a:gd name="T25" fmla="*/ 532 h 1822"/>
                  <a:gd name="T26" fmla="*/ 1183 w 1826"/>
                  <a:gd name="T27" fmla="*/ 532 h 1822"/>
                  <a:gd name="T28" fmla="*/ 1076 w 1826"/>
                  <a:gd name="T29" fmla="*/ 532 h 1822"/>
                  <a:gd name="T30" fmla="*/ 1023 w 1826"/>
                  <a:gd name="T31" fmla="*/ 950 h 1822"/>
                  <a:gd name="T32" fmla="*/ 1023 w 1826"/>
                  <a:gd name="T33" fmla="*/ 844 h 1822"/>
                  <a:gd name="T34" fmla="*/ 549 w 1826"/>
                  <a:gd name="T35" fmla="*/ 1134 h 1822"/>
                  <a:gd name="T36" fmla="*/ 443 w 1826"/>
                  <a:gd name="T37" fmla="*/ 1134 h 1822"/>
                  <a:gd name="T38" fmla="*/ 549 w 1826"/>
                  <a:gd name="T39" fmla="*/ 1134 h 1822"/>
                  <a:gd name="T40" fmla="*/ 876 w 1826"/>
                  <a:gd name="T41" fmla="*/ 576 h 1822"/>
                  <a:gd name="T42" fmla="*/ 876 w 1826"/>
                  <a:gd name="T43" fmla="*/ 544 h 1822"/>
                  <a:gd name="T44" fmla="*/ 681 w 1826"/>
                  <a:gd name="T45" fmla="*/ 380 h 1822"/>
                  <a:gd name="T46" fmla="*/ 380 w 1826"/>
                  <a:gd name="T47" fmla="*/ 690 h 1822"/>
                  <a:gd name="T48" fmla="*/ 551 w 1826"/>
                  <a:gd name="T49" fmla="*/ 870 h 1822"/>
                  <a:gd name="T50" fmla="*/ 582 w 1826"/>
                  <a:gd name="T51" fmla="*/ 870 h 1822"/>
                  <a:gd name="T52" fmla="*/ 1195 w 1826"/>
                  <a:gd name="T53" fmla="*/ 1127 h 1822"/>
                  <a:gd name="T54" fmla="*/ 757 w 1826"/>
                  <a:gd name="T55" fmla="*/ 1149 h 1822"/>
                  <a:gd name="T56" fmla="*/ 779 w 1826"/>
                  <a:gd name="T57" fmla="*/ 1403 h 1822"/>
                  <a:gd name="T58" fmla="*/ 1217 w 1826"/>
                  <a:gd name="T59" fmla="*/ 1381 h 1822"/>
                  <a:gd name="T60" fmla="*/ 1412 w 1826"/>
                  <a:gd name="T61" fmla="*/ 960 h 1822"/>
                  <a:gd name="T62" fmla="*/ 1390 w 1826"/>
                  <a:gd name="T63" fmla="*/ 706 h 1822"/>
                  <a:gd name="T64" fmla="*/ 1200 w 1826"/>
                  <a:gd name="T65" fmla="*/ 728 h 1822"/>
                  <a:gd name="T66" fmla="*/ 1222 w 1826"/>
                  <a:gd name="T67" fmla="*/ 982 h 1822"/>
                  <a:gd name="T68" fmla="*/ 1412 w 1826"/>
                  <a:gd name="T69" fmla="*/ 960 h 18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26" h="1822">
                    <a:moveTo>
                      <a:pt x="288" y="144"/>
                    </a:moveTo>
                    <a:cubicBezTo>
                      <a:pt x="288" y="224"/>
                      <a:pt x="223" y="288"/>
                      <a:pt x="144" y="288"/>
                    </a:cubicBezTo>
                    <a:cubicBezTo>
                      <a:pt x="64" y="288"/>
                      <a:pt x="0" y="224"/>
                      <a:pt x="0" y="144"/>
                    </a:cubicBezTo>
                    <a:cubicBezTo>
                      <a:pt x="0" y="65"/>
                      <a:pt x="64" y="0"/>
                      <a:pt x="144" y="0"/>
                    </a:cubicBezTo>
                    <a:cubicBezTo>
                      <a:pt x="223" y="0"/>
                      <a:pt x="288" y="65"/>
                      <a:pt x="288" y="144"/>
                    </a:cubicBezTo>
                    <a:close/>
                    <a:moveTo>
                      <a:pt x="1682" y="0"/>
                    </a:moveTo>
                    <a:cubicBezTo>
                      <a:pt x="1603" y="0"/>
                      <a:pt x="1538" y="65"/>
                      <a:pt x="1538" y="144"/>
                    </a:cubicBezTo>
                    <a:cubicBezTo>
                      <a:pt x="1538" y="224"/>
                      <a:pt x="1603" y="288"/>
                      <a:pt x="1682" y="288"/>
                    </a:cubicBezTo>
                    <a:cubicBezTo>
                      <a:pt x="1762" y="288"/>
                      <a:pt x="1826" y="224"/>
                      <a:pt x="1826" y="144"/>
                    </a:cubicBezTo>
                    <a:cubicBezTo>
                      <a:pt x="1826" y="65"/>
                      <a:pt x="1762" y="0"/>
                      <a:pt x="1682" y="0"/>
                    </a:cubicBezTo>
                    <a:close/>
                    <a:moveTo>
                      <a:pt x="144" y="1534"/>
                    </a:moveTo>
                    <a:cubicBezTo>
                      <a:pt x="64" y="1534"/>
                      <a:pt x="0" y="1598"/>
                      <a:pt x="0" y="1678"/>
                    </a:cubicBezTo>
                    <a:cubicBezTo>
                      <a:pt x="0" y="1757"/>
                      <a:pt x="64" y="1822"/>
                      <a:pt x="144" y="1822"/>
                    </a:cubicBezTo>
                    <a:cubicBezTo>
                      <a:pt x="223" y="1822"/>
                      <a:pt x="288" y="1757"/>
                      <a:pt x="288" y="1678"/>
                    </a:cubicBezTo>
                    <a:cubicBezTo>
                      <a:pt x="288" y="1598"/>
                      <a:pt x="223" y="1534"/>
                      <a:pt x="144" y="1534"/>
                    </a:cubicBezTo>
                    <a:close/>
                    <a:moveTo>
                      <a:pt x="1682" y="1534"/>
                    </a:moveTo>
                    <a:cubicBezTo>
                      <a:pt x="1603" y="1534"/>
                      <a:pt x="1538" y="1598"/>
                      <a:pt x="1538" y="1678"/>
                    </a:cubicBezTo>
                    <a:cubicBezTo>
                      <a:pt x="1538" y="1757"/>
                      <a:pt x="1603" y="1822"/>
                      <a:pt x="1682" y="1822"/>
                    </a:cubicBezTo>
                    <a:cubicBezTo>
                      <a:pt x="1762" y="1822"/>
                      <a:pt x="1826" y="1757"/>
                      <a:pt x="1826" y="1678"/>
                    </a:cubicBezTo>
                    <a:cubicBezTo>
                      <a:pt x="1826" y="1598"/>
                      <a:pt x="1762" y="1534"/>
                      <a:pt x="1682" y="1534"/>
                    </a:cubicBezTo>
                    <a:close/>
                    <a:moveTo>
                      <a:pt x="1579" y="911"/>
                    </a:moveTo>
                    <a:cubicBezTo>
                      <a:pt x="1579" y="1279"/>
                      <a:pt x="1281" y="1577"/>
                      <a:pt x="913" y="1577"/>
                    </a:cubicBezTo>
                    <a:cubicBezTo>
                      <a:pt x="545" y="1577"/>
                      <a:pt x="247" y="1279"/>
                      <a:pt x="247" y="911"/>
                    </a:cubicBezTo>
                    <a:cubicBezTo>
                      <a:pt x="247" y="543"/>
                      <a:pt x="545" y="245"/>
                      <a:pt x="913" y="245"/>
                    </a:cubicBezTo>
                    <a:cubicBezTo>
                      <a:pt x="1281" y="245"/>
                      <a:pt x="1579" y="543"/>
                      <a:pt x="1579" y="911"/>
                    </a:cubicBezTo>
                    <a:close/>
                    <a:moveTo>
                      <a:pt x="1076" y="532"/>
                    </a:moveTo>
                    <a:cubicBezTo>
                      <a:pt x="1076" y="562"/>
                      <a:pt x="1100" y="585"/>
                      <a:pt x="1129" y="585"/>
                    </a:cubicBezTo>
                    <a:cubicBezTo>
                      <a:pt x="1159" y="585"/>
                      <a:pt x="1183" y="562"/>
                      <a:pt x="1183" y="532"/>
                    </a:cubicBezTo>
                    <a:cubicBezTo>
                      <a:pt x="1183" y="503"/>
                      <a:pt x="1159" y="479"/>
                      <a:pt x="1129" y="479"/>
                    </a:cubicBezTo>
                    <a:cubicBezTo>
                      <a:pt x="1100" y="479"/>
                      <a:pt x="1076" y="503"/>
                      <a:pt x="1076" y="532"/>
                    </a:cubicBezTo>
                    <a:close/>
                    <a:moveTo>
                      <a:pt x="970" y="897"/>
                    </a:moveTo>
                    <a:cubicBezTo>
                      <a:pt x="970" y="926"/>
                      <a:pt x="994" y="950"/>
                      <a:pt x="1023" y="950"/>
                    </a:cubicBezTo>
                    <a:cubicBezTo>
                      <a:pt x="1052" y="950"/>
                      <a:pt x="1076" y="926"/>
                      <a:pt x="1076" y="897"/>
                    </a:cubicBezTo>
                    <a:cubicBezTo>
                      <a:pt x="1076" y="868"/>
                      <a:pt x="1052" y="844"/>
                      <a:pt x="1023" y="844"/>
                    </a:cubicBezTo>
                    <a:cubicBezTo>
                      <a:pt x="994" y="844"/>
                      <a:pt x="970" y="868"/>
                      <a:pt x="970" y="897"/>
                    </a:cubicBezTo>
                    <a:close/>
                    <a:moveTo>
                      <a:pt x="549" y="1134"/>
                    </a:moveTo>
                    <a:cubicBezTo>
                      <a:pt x="549" y="1105"/>
                      <a:pt x="526" y="1081"/>
                      <a:pt x="496" y="1081"/>
                    </a:cubicBezTo>
                    <a:cubicBezTo>
                      <a:pt x="467" y="1081"/>
                      <a:pt x="443" y="1105"/>
                      <a:pt x="443" y="1134"/>
                    </a:cubicBezTo>
                    <a:cubicBezTo>
                      <a:pt x="443" y="1164"/>
                      <a:pt x="467" y="1187"/>
                      <a:pt x="496" y="1187"/>
                    </a:cubicBezTo>
                    <a:cubicBezTo>
                      <a:pt x="526" y="1187"/>
                      <a:pt x="549" y="1164"/>
                      <a:pt x="549" y="1134"/>
                    </a:cubicBezTo>
                    <a:close/>
                    <a:moveTo>
                      <a:pt x="582" y="870"/>
                    </a:moveTo>
                    <a:cubicBezTo>
                      <a:pt x="876" y="576"/>
                      <a:pt x="876" y="576"/>
                      <a:pt x="876" y="576"/>
                    </a:cubicBezTo>
                    <a:cubicBezTo>
                      <a:pt x="880" y="571"/>
                      <a:pt x="883" y="566"/>
                      <a:pt x="883" y="560"/>
                    </a:cubicBezTo>
                    <a:cubicBezTo>
                      <a:pt x="883" y="554"/>
                      <a:pt x="880" y="549"/>
                      <a:pt x="876" y="544"/>
                    </a:cubicBezTo>
                    <a:cubicBezTo>
                      <a:pt x="712" y="380"/>
                      <a:pt x="712" y="380"/>
                      <a:pt x="712" y="380"/>
                    </a:cubicBezTo>
                    <a:cubicBezTo>
                      <a:pt x="704" y="372"/>
                      <a:pt x="690" y="372"/>
                      <a:pt x="681" y="380"/>
                    </a:cubicBezTo>
                    <a:cubicBezTo>
                      <a:pt x="387" y="675"/>
                      <a:pt x="387" y="675"/>
                      <a:pt x="387" y="675"/>
                    </a:cubicBezTo>
                    <a:cubicBezTo>
                      <a:pt x="383" y="679"/>
                      <a:pt x="380" y="684"/>
                      <a:pt x="380" y="690"/>
                    </a:cubicBezTo>
                    <a:cubicBezTo>
                      <a:pt x="380" y="696"/>
                      <a:pt x="383" y="701"/>
                      <a:pt x="387" y="706"/>
                    </a:cubicBezTo>
                    <a:cubicBezTo>
                      <a:pt x="551" y="870"/>
                      <a:pt x="551" y="870"/>
                      <a:pt x="551" y="870"/>
                    </a:cubicBezTo>
                    <a:cubicBezTo>
                      <a:pt x="555" y="874"/>
                      <a:pt x="561" y="876"/>
                      <a:pt x="566" y="876"/>
                    </a:cubicBezTo>
                    <a:cubicBezTo>
                      <a:pt x="572" y="876"/>
                      <a:pt x="578" y="874"/>
                      <a:pt x="582" y="870"/>
                    </a:cubicBezTo>
                    <a:close/>
                    <a:moveTo>
                      <a:pt x="1217" y="1149"/>
                    </a:moveTo>
                    <a:cubicBezTo>
                      <a:pt x="1217" y="1137"/>
                      <a:pt x="1207" y="1127"/>
                      <a:pt x="1195" y="1127"/>
                    </a:cubicBezTo>
                    <a:cubicBezTo>
                      <a:pt x="779" y="1127"/>
                      <a:pt x="779" y="1127"/>
                      <a:pt x="779" y="1127"/>
                    </a:cubicBezTo>
                    <a:cubicBezTo>
                      <a:pt x="767" y="1127"/>
                      <a:pt x="757" y="1137"/>
                      <a:pt x="757" y="1149"/>
                    </a:cubicBezTo>
                    <a:cubicBezTo>
                      <a:pt x="757" y="1381"/>
                      <a:pt x="757" y="1381"/>
                      <a:pt x="757" y="1381"/>
                    </a:cubicBezTo>
                    <a:cubicBezTo>
                      <a:pt x="757" y="1393"/>
                      <a:pt x="767" y="1403"/>
                      <a:pt x="779" y="1403"/>
                    </a:cubicBezTo>
                    <a:cubicBezTo>
                      <a:pt x="1195" y="1403"/>
                      <a:pt x="1195" y="1403"/>
                      <a:pt x="1195" y="1403"/>
                    </a:cubicBezTo>
                    <a:cubicBezTo>
                      <a:pt x="1207" y="1403"/>
                      <a:pt x="1217" y="1393"/>
                      <a:pt x="1217" y="1381"/>
                    </a:cubicBezTo>
                    <a:lnTo>
                      <a:pt x="1217" y="1149"/>
                    </a:lnTo>
                    <a:close/>
                    <a:moveTo>
                      <a:pt x="1412" y="960"/>
                    </a:moveTo>
                    <a:cubicBezTo>
                      <a:pt x="1412" y="728"/>
                      <a:pt x="1412" y="728"/>
                      <a:pt x="1412" y="728"/>
                    </a:cubicBezTo>
                    <a:cubicBezTo>
                      <a:pt x="1412" y="716"/>
                      <a:pt x="1402" y="706"/>
                      <a:pt x="1390" y="706"/>
                    </a:cubicBezTo>
                    <a:cubicBezTo>
                      <a:pt x="1222" y="706"/>
                      <a:pt x="1222" y="706"/>
                      <a:pt x="1222" y="706"/>
                    </a:cubicBezTo>
                    <a:cubicBezTo>
                      <a:pt x="1209" y="706"/>
                      <a:pt x="1200" y="716"/>
                      <a:pt x="1200" y="728"/>
                    </a:cubicBezTo>
                    <a:cubicBezTo>
                      <a:pt x="1200" y="960"/>
                      <a:pt x="1200" y="960"/>
                      <a:pt x="1200" y="960"/>
                    </a:cubicBezTo>
                    <a:cubicBezTo>
                      <a:pt x="1200" y="972"/>
                      <a:pt x="1209" y="982"/>
                      <a:pt x="1222" y="982"/>
                    </a:cubicBezTo>
                    <a:cubicBezTo>
                      <a:pt x="1390" y="982"/>
                      <a:pt x="1390" y="982"/>
                      <a:pt x="1390" y="982"/>
                    </a:cubicBezTo>
                    <a:cubicBezTo>
                      <a:pt x="1402" y="982"/>
                      <a:pt x="1412" y="972"/>
                      <a:pt x="1412" y="960"/>
                    </a:cubicBezTo>
                    <a:close/>
                  </a:path>
                </a:pathLst>
              </a:custGeom>
              <a:solidFill>
                <a:srgbClr val="0A3774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31">
                <a:extLst>
                  <a:ext uri="{FF2B5EF4-FFF2-40B4-BE49-F238E27FC236}">
                    <a16:creationId xmlns:a16="http://schemas.microsoft.com/office/drawing/2014/main" id="{8FA72D8C-A344-4080-8FD3-986A1EBA5C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6495" y="2807589"/>
                <a:ext cx="1239012" cy="1238631"/>
              </a:xfrm>
              <a:custGeom>
                <a:avLst/>
                <a:gdLst>
                  <a:gd name="T0" fmla="*/ 784 w 1736"/>
                  <a:gd name="T1" fmla="*/ 518 h 1734"/>
                  <a:gd name="T2" fmla="*/ 389 w 1736"/>
                  <a:gd name="T3" fmla="*/ 648 h 1734"/>
                  <a:gd name="T4" fmla="*/ 756 w 1736"/>
                  <a:gd name="T5" fmla="*/ 1317 h 1734"/>
                  <a:gd name="T6" fmla="*/ 1128 w 1736"/>
                  <a:gd name="T7" fmla="*/ 1129 h 1734"/>
                  <a:gd name="T8" fmla="*/ 756 w 1736"/>
                  <a:gd name="T9" fmla="*/ 1317 h 1734"/>
                  <a:gd name="T10" fmla="*/ 1323 w 1736"/>
                  <a:gd name="T11" fmla="*/ 896 h 1734"/>
                  <a:gd name="T12" fmla="*/ 1199 w 1736"/>
                  <a:gd name="T13" fmla="*/ 708 h 1734"/>
                  <a:gd name="T14" fmla="*/ 521 w 1736"/>
                  <a:gd name="T15" fmla="*/ 0 h 1734"/>
                  <a:gd name="T16" fmla="*/ 277 w 1736"/>
                  <a:gd name="T17" fmla="*/ 44 h 1734"/>
                  <a:gd name="T18" fmla="*/ 537 w 1736"/>
                  <a:gd name="T19" fmla="*/ 60 h 1734"/>
                  <a:gd name="T20" fmla="*/ 438 w 1736"/>
                  <a:gd name="T21" fmla="*/ 76 h 1734"/>
                  <a:gd name="T22" fmla="*/ 107 w 1736"/>
                  <a:gd name="T23" fmla="*/ 366 h 1734"/>
                  <a:gd name="T24" fmla="*/ 77 w 1736"/>
                  <a:gd name="T25" fmla="*/ 521 h 1734"/>
                  <a:gd name="T26" fmla="*/ 44 w 1736"/>
                  <a:gd name="T27" fmla="*/ 521 h 1734"/>
                  <a:gd name="T28" fmla="*/ 0 w 1736"/>
                  <a:gd name="T29" fmla="*/ 262 h 1734"/>
                  <a:gd name="T30" fmla="*/ 60 w 1736"/>
                  <a:gd name="T31" fmla="*/ 581 h 1734"/>
                  <a:gd name="T32" fmla="*/ 121 w 1736"/>
                  <a:gd name="T33" fmla="*/ 438 h 1734"/>
                  <a:gd name="T34" fmla="*/ 397 w 1736"/>
                  <a:gd name="T35" fmla="*/ 137 h 1734"/>
                  <a:gd name="T36" fmla="*/ 521 w 1736"/>
                  <a:gd name="T37" fmla="*/ 120 h 1734"/>
                  <a:gd name="T38" fmla="*/ 521 w 1736"/>
                  <a:gd name="T39" fmla="*/ 0 h 1734"/>
                  <a:gd name="T40" fmla="*/ 1692 w 1736"/>
                  <a:gd name="T41" fmla="*/ 521 h 1734"/>
                  <a:gd name="T42" fmla="*/ 1659 w 1736"/>
                  <a:gd name="T43" fmla="*/ 521 h 1734"/>
                  <a:gd name="T44" fmla="*/ 1635 w 1736"/>
                  <a:gd name="T45" fmla="*/ 372 h 1734"/>
                  <a:gd name="T46" fmla="*/ 1306 w 1736"/>
                  <a:gd name="T47" fmla="*/ 76 h 1734"/>
                  <a:gd name="T48" fmla="*/ 1199 w 1736"/>
                  <a:gd name="T49" fmla="*/ 60 h 1734"/>
                  <a:gd name="T50" fmla="*/ 1459 w 1736"/>
                  <a:gd name="T51" fmla="*/ 44 h 1734"/>
                  <a:gd name="T52" fmla="*/ 1215 w 1736"/>
                  <a:gd name="T53" fmla="*/ 0 h 1734"/>
                  <a:gd name="T54" fmla="*/ 1215 w 1736"/>
                  <a:gd name="T55" fmla="*/ 120 h 1734"/>
                  <a:gd name="T56" fmla="*/ 1333 w 1736"/>
                  <a:gd name="T57" fmla="*/ 131 h 1734"/>
                  <a:gd name="T58" fmla="*/ 1615 w 1736"/>
                  <a:gd name="T59" fmla="*/ 430 h 1734"/>
                  <a:gd name="T60" fmla="*/ 1676 w 1736"/>
                  <a:gd name="T61" fmla="*/ 581 h 1734"/>
                  <a:gd name="T62" fmla="*/ 1736 w 1736"/>
                  <a:gd name="T63" fmla="*/ 262 h 1734"/>
                  <a:gd name="T64" fmla="*/ 521 w 1736"/>
                  <a:gd name="T65" fmla="*/ 1614 h 1734"/>
                  <a:gd name="T66" fmla="*/ 397 w 1736"/>
                  <a:gd name="T67" fmla="*/ 1597 h 1734"/>
                  <a:gd name="T68" fmla="*/ 121 w 1736"/>
                  <a:gd name="T69" fmla="*/ 1296 h 1734"/>
                  <a:gd name="T70" fmla="*/ 60 w 1736"/>
                  <a:gd name="T71" fmla="*/ 1153 h 1734"/>
                  <a:gd name="T72" fmla="*/ 0 w 1736"/>
                  <a:gd name="T73" fmla="*/ 1476 h 1734"/>
                  <a:gd name="T74" fmla="*/ 44 w 1736"/>
                  <a:gd name="T75" fmla="*/ 1213 h 1734"/>
                  <a:gd name="T76" fmla="*/ 77 w 1736"/>
                  <a:gd name="T77" fmla="*/ 1213 h 1734"/>
                  <a:gd name="T78" fmla="*/ 107 w 1736"/>
                  <a:gd name="T79" fmla="*/ 1368 h 1734"/>
                  <a:gd name="T80" fmla="*/ 438 w 1736"/>
                  <a:gd name="T81" fmla="*/ 1658 h 1734"/>
                  <a:gd name="T82" fmla="*/ 537 w 1736"/>
                  <a:gd name="T83" fmla="*/ 1674 h 1734"/>
                  <a:gd name="T84" fmla="*/ 279 w 1736"/>
                  <a:gd name="T85" fmla="*/ 1690 h 1734"/>
                  <a:gd name="T86" fmla="*/ 521 w 1736"/>
                  <a:gd name="T87" fmla="*/ 1734 h 1734"/>
                  <a:gd name="T88" fmla="*/ 521 w 1736"/>
                  <a:gd name="T89" fmla="*/ 1614 h 1734"/>
                  <a:gd name="T90" fmla="*/ 1215 w 1736"/>
                  <a:gd name="T91" fmla="*/ 1690 h 1734"/>
                  <a:gd name="T92" fmla="*/ 1215 w 1736"/>
                  <a:gd name="T93" fmla="*/ 1658 h 1734"/>
                  <a:gd name="T94" fmla="*/ 1370 w 1736"/>
                  <a:gd name="T95" fmla="*/ 1628 h 1734"/>
                  <a:gd name="T96" fmla="*/ 1659 w 1736"/>
                  <a:gd name="T97" fmla="*/ 1296 h 1734"/>
                  <a:gd name="T98" fmla="*/ 1676 w 1736"/>
                  <a:gd name="T99" fmla="*/ 1197 h 1734"/>
                  <a:gd name="T100" fmla="*/ 1692 w 1736"/>
                  <a:gd name="T101" fmla="*/ 1456 h 1734"/>
                  <a:gd name="T102" fmla="*/ 1736 w 1736"/>
                  <a:gd name="T103" fmla="*/ 1213 h 1734"/>
                  <a:gd name="T104" fmla="*/ 1615 w 1736"/>
                  <a:gd name="T105" fmla="*/ 1213 h 1734"/>
                  <a:gd name="T106" fmla="*/ 1598 w 1736"/>
                  <a:gd name="T107" fmla="*/ 1337 h 1734"/>
                  <a:gd name="T108" fmla="*/ 1298 w 1736"/>
                  <a:gd name="T109" fmla="*/ 1614 h 1734"/>
                  <a:gd name="T110" fmla="*/ 1155 w 1736"/>
                  <a:gd name="T111" fmla="*/ 1674 h 1734"/>
                  <a:gd name="T112" fmla="*/ 1477 w 1736"/>
                  <a:gd name="T113" fmla="*/ 1734 h 1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1734">
                    <a:moveTo>
                      <a:pt x="652" y="385"/>
                    </a:moveTo>
                    <a:cubicBezTo>
                      <a:pt x="784" y="518"/>
                      <a:pt x="784" y="518"/>
                      <a:pt x="784" y="518"/>
                    </a:cubicBezTo>
                    <a:cubicBezTo>
                      <a:pt x="521" y="781"/>
                      <a:pt x="521" y="781"/>
                      <a:pt x="521" y="781"/>
                    </a:cubicBezTo>
                    <a:cubicBezTo>
                      <a:pt x="389" y="648"/>
                      <a:pt x="389" y="648"/>
                      <a:pt x="389" y="648"/>
                    </a:cubicBezTo>
                    <a:lnTo>
                      <a:pt x="652" y="385"/>
                    </a:lnTo>
                    <a:close/>
                    <a:moveTo>
                      <a:pt x="756" y="1317"/>
                    </a:moveTo>
                    <a:cubicBezTo>
                      <a:pt x="1128" y="1317"/>
                      <a:pt x="1128" y="1317"/>
                      <a:pt x="1128" y="1317"/>
                    </a:cubicBezTo>
                    <a:cubicBezTo>
                      <a:pt x="1128" y="1129"/>
                      <a:pt x="1128" y="1129"/>
                      <a:pt x="1128" y="1129"/>
                    </a:cubicBezTo>
                    <a:cubicBezTo>
                      <a:pt x="756" y="1129"/>
                      <a:pt x="756" y="1129"/>
                      <a:pt x="756" y="1129"/>
                    </a:cubicBezTo>
                    <a:lnTo>
                      <a:pt x="756" y="1317"/>
                    </a:lnTo>
                    <a:close/>
                    <a:moveTo>
                      <a:pt x="1199" y="896"/>
                    </a:moveTo>
                    <a:cubicBezTo>
                      <a:pt x="1323" y="896"/>
                      <a:pt x="1323" y="896"/>
                      <a:pt x="1323" y="896"/>
                    </a:cubicBezTo>
                    <a:cubicBezTo>
                      <a:pt x="1323" y="708"/>
                      <a:pt x="1323" y="708"/>
                      <a:pt x="1323" y="708"/>
                    </a:cubicBezTo>
                    <a:cubicBezTo>
                      <a:pt x="1199" y="708"/>
                      <a:pt x="1199" y="708"/>
                      <a:pt x="1199" y="708"/>
                    </a:cubicBezTo>
                    <a:lnTo>
                      <a:pt x="1199" y="896"/>
                    </a:lnTo>
                    <a:close/>
                    <a:moveTo>
                      <a:pt x="521" y="0"/>
                    </a:moveTo>
                    <a:cubicBezTo>
                      <a:pt x="256" y="0"/>
                      <a:pt x="256" y="0"/>
                      <a:pt x="256" y="0"/>
                    </a:cubicBezTo>
                    <a:cubicBezTo>
                      <a:pt x="265" y="13"/>
                      <a:pt x="272" y="28"/>
                      <a:pt x="277" y="44"/>
                    </a:cubicBezTo>
                    <a:cubicBezTo>
                      <a:pt x="521" y="44"/>
                      <a:pt x="521" y="44"/>
                      <a:pt x="521" y="44"/>
                    </a:cubicBezTo>
                    <a:cubicBezTo>
                      <a:pt x="530" y="44"/>
                      <a:pt x="537" y="51"/>
                      <a:pt x="537" y="60"/>
                    </a:cubicBezTo>
                    <a:cubicBezTo>
                      <a:pt x="537" y="69"/>
                      <a:pt x="530" y="76"/>
                      <a:pt x="521" y="76"/>
                    </a:cubicBezTo>
                    <a:cubicBezTo>
                      <a:pt x="438" y="76"/>
                      <a:pt x="438" y="76"/>
                      <a:pt x="438" y="76"/>
                    </a:cubicBezTo>
                    <a:cubicBezTo>
                      <a:pt x="411" y="76"/>
                      <a:pt x="386" y="87"/>
                      <a:pt x="366" y="106"/>
                    </a:cubicBezTo>
                    <a:cubicBezTo>
                      <a:pt x="107" y="366"/>
                      <a:pt x="107" y="366"/>
                      <a:pt x="107" y="366"/>
                    </a:cubicBezTo>
                    <a:cubicBezTo>
                      <a:pt x="87" y="385"/>
                      <a:pt x="77" y="411"/>
                      <a:pt x="77" y="438"/>
                    </a:cubicBezTo>
                    <a:cubicBezTo>
                      <a:pt x="77" y="521"/>
                      <a:pt x="77" y="521"/>
                      <a:pt x="77" y="521"/>
                    </a:cubicBezTo>
                    <a:cubicBezTo>
                      <a:pt x="77" y="530"/>
                      <a:pt x="69" y="537"/>
                      <a:pt x="60" y="537"/>
                    </a:cubicBezTo>
                    <a:cubicBezTo>
                      <a:pt x="51" y="537"/>
                      <a:pt x="44" y="530"/>
                      <a:pt x="44" y="521"/>
                    </a:cubicBezTo>
                    <a:cubicBezTo>
                      <a:pt x="44" y="282"/>
                      <a:pt x="44" y="282"/>
                      <a:pt x="44" y="282"/>
                    </a:cubicBezTo>
                    <a:cubicBezTo>
                      <a:pt x="28" y="277"/>
                      <a:pt x="14" y="271"/>
                      <a:pt x="0" y="262"/>
                    </a:cubicBez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54"/>
                      <a:pt x="27" y="581"/>
                      <a:pt x="60" y="581"/>
                    </a:cubicBezTo>
                    <a:cubicBezTo>
                      <a:pt x="94" y="581"/>
                      <a:pt x="121" y="554"/>
                      <a:pt x="121" y="521"/>
                    </a:cubicBezTo>
                    <a:cubicBezTo>
                      <a:pt x="121" y="438"/>
                      <a:pt x="121" y="438"/>
                      <a:pt x="121" y="438"/>
                    </a:cubicBezTo>
                    <a:cubicBezTo>
                      <a:pt x="121" y="423"/>
                      <a:pt x="127" y="408"/>
                      <a:pt x="138" y="397"/>
                    </a:cubicBezTo>
                    <a:cubicBezTo>
                      <a:pt x="397" y="137"/>
                      <a:pt x="397" y="137"/>
                      <a:pt x="397" y="137"/>
                    </a:cubicBezTo>
                    <a:cubicBezTo>
                      <a:pt x="408" y="126"/>
                      <a:pt x="423" y="120"/>
                      <a:pt x="438" y="120"/>
                    </a:cubicBezTo>
                    <a:cubicBezTo>
                      <a:pt x="521" y="120"/>
                      <a:pt x="521" y="120"/>
                      <a:pt x="521" y="120"/>
                    </a:cubicBezTo>
                    <a:cubicBezTo>
                      <a:pt x="554" y="120"/>
                      <a:pt x="581" y="93"/>
                      <a:pt x="581" y="60"/>
                    </a:cubicBezTo>
                    <a:cubicBezTo>
                      <a:pt x="581" y="27"/>
                      <a:pt x="554" y="0"/>
                      <a:pt x="521" y="0"/>
                    </a:cubicBezTo>
                    <a:close/>
                    <a:moveTo>
                      <a:pt x="1692" y="282"/>
                    </a:moveTo>
                    <a:cubicBezTo>
                      <a:pt x="1692" y="521"/>
                      <a:pt x="1692" y="521"/>
                      <a:pt x="1692" y="521"/>
                    </a:cubicBezTo>
                    <a:cubicBezTo>
                      <a:pt x="1692" y="530"/>
                      <a:pt x="1685" y="537"/>
                      <a:pt x="1676" y="537"/>
                    </a:cubicBezTo>
                    <a:cubicBezTo>
                      <a:pt x="1667" y="537"/>
                      <a:pt x="1659" y="530"/>
                      <a:pt x="1659" y="521"/>
                    </a:cubicBezTo>
                    <a:cubicBezTo>
                      <a:pt x="1659" y="430"/>
                      <a:pt x="1659" y="430"/>
                      <a:pt x="1659" y="430"/>
                    </a:cubicBezTo>
                    <a:cubicBezTo>
                      <a:pt x="1659" y="408"/>
                      <a:pt x="1651" y="387"/>
                      <a:pt x="1635" y="372"/>
                    </a:cubicBezTo>
                    <a:cubicBezTo>
                      <a:pt x="1581" y="318"/>
                      <a:pt x="1418" y="154"/>
                      <a:pt x="1364" y="100"/>
                    </a:cubicBezTo>
                    <a:cubicBezTo>
                      <a:pt x="1348" y="85"/>
                      <a:pt x="1328" y="76"/>
                      <a:pt x="1306" y="76"/>
                    </a:cubicBezTo>
                    <a:cubicBezTo>
                      <a:pt x="1215" y="76"/>
                      <a:pt x="1215" y="76"/>
                      <a:pt x="1215" y="76"/>
                    </a:cubicBezTo>
                    <a:cubicBezTo>
                      <a:pt x="1206" y="76"/>
                      <a:pt x="1199" y="69"/>
                      <a:pt x="1199" y="60"/>
                    </a:cubicBezTo>
                    <a:cubicBezTo>
                      <a:pt x="1199" y="51"/>
                      <a:pt x="1206" y="44"/>
                      <a:pt x="1215" y="44"/>
                    </a:cubicBezTo>
                    <a:cubicBezTo>
                      <a:pt x="1459" y="44"/>
                      <a:pt x="1459" y="44"/>
                      <a:pt x="1459" y="44"/>
                    </a:cubicBezTo>
                    <a:cubicBezTo>
                      <a:pt x="1464" y="28"/>
                      <a:pt x="1471" y="13"/>
                      <a:pt x="1480" y="0"/>
                    </a:cubicBezTo>
                    <a:cubicBezTo>
                      <a:pt x="1215" y="0"/>
                      <a:pt x="1215" y="0"/>
                      <a:pt x="1215" y="0"/>
                    </a:cubicBezTo>
                    <a:cubicBezTo>
                      <a:pt x="1182" y="0"/>
                      <a:pt x="1155" y="27"/>
                      <a:pt x="1155" y="60"/>
                    </a:cubicBezTo>
                    <a:cubicBezTo>
                      <a:pt x="1155" y="93"/>
                      <a:pt x="1182" y="120"/>
                      <a:pt x="1215" y="120"/>
                    </a:cubicBezTo>
                    <a:cubicBezTo>
                      <a:pt x="1306" y="120"/>
                      <a:pt x="1306" y="120"/>
                      <a:pt x="1306" y="120"/>
                    </a:cubicBezTo>
                    <a:cubicBezTo>
                      <a:pt x="1316" y="120"/>
                      <a:pt x="1326" y="124"/>
                      <a:pt x="1333" y="131"/>
                    </a:cubicBezTo>
                    <a:cubicBezTo>
                      <a:pt x="1387" y="185"/>
                      <a:pt x="1550" y="349"/>
                      <a:pt x="1604" y="403"/>
                    </a:cubicBezTo>
                    <a:cubicBezTo>
                      <a:pt x="1611" y="410"/>
                      <a:pt x="1615" y="420"/>
                      <a:pt x="1615" y="430"/>
                    </a:cubicBezTo>
                    <a:cubicBezTo>
                      <a:pt x="1615" y="521"/>
                      <a:pt x="1615" y="521"/>
                      <a:pt x="1615" y="521"/>
                    </a:cubicBezTo>
                    <a:cubicBezTo>
                      <a:pt x="1615" y="554"/>
                      <a:pt x="1642" y="581"/>
                      <a:pt x="1676" y="581"/>
                    </a:cubicBezTo>
                    <a:cubicBezTo>
                      <a:pt x="1709" y="581"/>
                      <a:pt x="1736" y="554"/>
                      <a:pt x="1736" y="521"/>
                    </a:cubicBezTo>
                    <a:cubicBezTo>
                      <a:pt x="1736" y="262"/>
                      <a:pt x="1736" y="262"/>
                      <a:pt x="1736" y="262"/>
                    </a:cubicBezTo>
                    <a:cubicBezTo>
                      <a:pt x="1722" y="271"/>
                      <a:pt x="1708" y="277"/>
                      <a:pt x="1692" y="282"/>
                    </a:cubicBezTo>
                    <a:close/>
                    <a:moveTo>
                      <a:pt x="521" y="1614"/>
                    </a:moveTo>
                    <a:cubicBezTo>
                      <a:pt x="438" y="1614"/>
                      <a:pt x="438" y="1614"/>
                      <a:pt x="438" y="1614"/>
                    </a:cubicBezTo>
                    <a:cubicBezTo>
                      <a:pt x="423" y="1614"/>
                      <a:pt x="408" y="1608"/>
                      <a:pt x="397" y="1597"/>
                    </a:cubicBezTo>
                    <a:cubicBezTo>
                      <a:pt x="138" y="1337"/>
                      <a:pt x="138" y="1337"/>
                      <a:pt x="138" y="1337"/>
                    </a:cubicBezTo>
                    <a:cubicBezTo>
                      <a:pt x="127" y="1326"/>
                      <a:pt x="121" y="1311"/>
                      <a:pt x="121" y="1296"/>
                    </a:cubicBezTo>
                    <a:cubicBezTo>
                      <a:pt x="121" y="1213"/>
                      <a:pt x="121" y="1213"/>
                      <a:pt x="121" y="1213"/>
                    </a:cubicBezTo>
                    <a:cubicBezTo>
                      <a:pt x="121" y="1180"/>
                      <a:pt x="94" y="1153"/>
                      <a:pt x="60" y="1153"/>
                    </a:cubicBezTo>
                    <a:cubicBezTo>
                      <a:pt x="27" y="1153"/>
                      <a:pt x="0" y="1180"/>
                      <a:pt x="0" y="1213"/>
                    </a:cubicBezTo>
                    <a:cubicBezTo>
                      <a:pt x="0" y="1476"/>
                      <a:pt x="0" y="1476"/>
                      <a:pt x="0" y="1476"/>
                    </a:cubicBezTo>
                    <a:cubicBezTo>
                      <a:pt x="14" y="1467"/>
                      <a:pt x="28" y="1461"/>
                      <a:pt x="44" y="1456"/>
                    </a:cubicBezTo>
                    <a:cubicBezTo>
                      <a:pt x="44" y="1213"/>
                      <a:pt x="44" y="1213"/>
                      <a:pt x="44" y="1213"/>
                    </a:cubicBezTo>
                    <a:cubicBezTo>
                      <a:pt x="44" y="1204"/>
                      <a:pt x="51" y="1197"/>
                      <a:pt x="60" y="1197"/>
                    </a:cubicBezTo>
                    <a:cubicBezTo>
                      <a:pt x="69" y="1197"/>
                      <a:pt x="77" y="1204"/>
                      <a:pt x="77" y="1213"/>
                    </a:cubicBezTo>
                    <a:cubicBezTo>
                      <a:pt x="77" y="1296"/>
                      <a:pt x="77" y="1296"/>
                      <a:pt x="77" y="1296"/>
                    </a:cubicBezTo>
                    <a:cubicBezTo>
                      <a:pt x="77" y="1323"/>
                      <a:pt x="87" y="1349"/>
                      <a:pt x="107" y="1368"/>
                    </a:cubicBezTo>
                    <a:cubicBezTo>
                      <a:pt x="366" y="1628"/>
                      <a:pt x="366" y="1628"/>
                      <a:pt x="366" y="1628"/>
                    </a:cubicBezTo>
                    <a:cubicBezTo>
                      <a:pt x="386" y="1647"/>
                      <a:pt x="411" y="1658"/>
                      <a:pt x="438" y="1658"/>
                    </a:cubicBezTo>
                    <a:cubicBezTo>
                      <a:pt x="521" y="1658"/>
                      <a:pt x="521" y="1658"/>
                      <a:pt x="521" y="1658"/>
                    </a:cubicBezTo>
                    <a:cubicBezTo>
                      <a:pt x="530" y="1658"/>
                      <a:pt x="537" y="1665"/>
                      <a:pt x="537" y="1674"/>
                    </a:cubicBezTo>
                    <a:cubicBezTo>
                      <a:pt x="537" y="1683"/>
                      <a:pt x="530" y="1690"/>
                      <a:pt x="521" y="1690"/>
                    </a:cubicBezTo>
                    <a:cubicBezTo>
                      <a:pt x="279" y="1690"/>
                      <a:pt x="279" y="1690"/>
                      <a:pt x="279" y="1690"/>
                    </a:cubicBezTo>
                    <a:cubicBezTo>
                      <a:pt x="274" y="1706"/>
                      <a:pt x="267" y="1721"/>
                      <a:pt x="259" y="1734"/>
                    </a:cubicBezTo>
                    <a:cubicBezTo>
                      <a:pt x="521" y="1734"/>
                      <a:pt x="521" y="1734"/>
                      <a:pt x="521" y="1734"/>
                    </a:cubicBezTo>
                    <a:cubicBezTo>
                      <a:pt x="554" y="1734"/>
                      <a:pt x="581" y="1707"/>
                      <a:pt x="581" y="1674"/>
                    </a:cubicBezTo>
                    <a:cubicBezTo>
                      <a:pt x="581" y="1641"/>
                      <a:pt x="554" y="1614"/>
                      <a:pt x="521" y="1614"/>
                    </a:cubicBezTo>
                    <a:close/>
                    <a:moveTo>
                      <a:pt x="1457" y="1690"/>
                    </a:moveTo>
                    <a:cubicBezTo>
                      <a:pt x="1215" y="1690"/>
                      <a:pt x="1215" y="1690"/>
                      <a:pt x="1215" y="1690"/>
                    </a:cubicBezTo>
                    <a:cubicBezTo>
                      <a:pt x="1206" y="1690"/>
                      <a:pt x="1199" y="1683"/>
                      <a:pt x="1199" y="1674"/>
                    </a:cubicBezTo>
                    <a:cubicBezTo>
                      <a:pt x="1199" y="1665"/>
                      <a:pt x="1206" y="1658"/>
                      <a:pt x="1215" y="1658"/>
                    </a:cubicBezTo>
                    <a:cubicBezTo>
                      <a:pt x="1298" y="1658"/>
                      <a:pt x="1298" y="1658"/>
                      <a:pt x="1298" y="1658"/>
                    </a:cubicBezTo>
                    <a:cubicBezTo>
                      <a:pt x="1325" y="1658"/>
                      <a:pt x="1350" y="1647"/>
                      <a:pt x="1370" y="1628"/>
                    </a:cubicBezTo>
                    <a:cubicBezTo>
                      <a:pt x="1629" y="1368"/>
                      <a:pt x="1629" y="1368"/>
                      <a:pt x="1629" y="1368"/>
                    </a:cubicBezTo>
                    <a:cubicBezTo>
                      <a:pt x="1649" y="1349"/>
                      <a:pt x="1659" y="1323"/>
                      <a:pt x="1659" y="1296"/>
                    </a:cubicBezTo>
                    <a:cubicBezTo>
                      <a:pt x="1659" y="1213"/>
                      <a:pt x="1659" y="1213"/>
                      <a:pt x="1659" y="1213"/>
                    </a:cubicBezTo>
                    <a:cubicBezTo>
                      <a:pt x="1659" y="1204"/>
                      <a:pt x="1667" y="1197"/>
                      <a:pt x="1676" y="1197"/>
                    </a:cubicBezTo>
                    <a:cubicBezTo>
                      <a:pt x="1685" y="1197"/>
                      <a:pt x="1692" y="1204"/>
                      <a:pt x="1692" y="1213"/>
                    </a:cubicBezTo>
                    <a:cubicBezTo>
                      <a:pt x="1692" y="1456"/>
                      <a:pt x="1692" y="1456"/>
                      <a:pt x="1692" y="1456"/>
                    </a:cubicBezTo>
                    <a:cubicBezTo>
                      <a:pt x="1708" y="1461"/>
                      <a:pt x="1722" y="1467"/>
                      <a:pt x="1736" y="1476"/>
                    </a:cubicBezTo>
                    <a:cubicBezTo>
                      <a:pt x="1736" y="1213"/>
                      <a:pt x="1736" y="1213"/>
                      <a:pt x="1736" y="1213"/>
                    </a:cubicBezTo>
                    <a:cubicBezTo>
                      <a:pt x="1736" y="1180"/>
                      <a:pt x="1709" y="1153"/>
                      <a:pt x="1676" y="1153"/>
                    </a:cubicBezTo>
                    <a:cubicBezTo>
                      <a:pt x="1642" y="1153"/>
                      <a:pt x="1615" y="1180"/>
                      <a:pt x="1615" y="1213"/>
                    </a:cubicBezTo>
                    <a:cubicBezTo>
                      <a:pt x="1615" y="1296"/>
                      <a:pt x="1615" y="1296"/>
                      <a:pt x="1615" y="1296"/>
                    </a:cubicBezTo>
                    <a:cubicBezTo>
                      <a:pt x="1615" y="1311"/>
                      <a:pt x="1609" y="1326"/>
                      <a:pt x="1598" y="1337"/>
                    </a:cubicBezTo>
                    <a:cubicBezTo>
                      <a:pt x="1339" y="1597"/>
                      <a:pt x="1339" y="1597"/>
                      <a:pt x="1339" y="1597"/>
                    </a:cubicBezTo>
                    <a:cubicBezTo>
                      <a:pt x="1328" y="1608"/>
                      <a:pt x="1313" y="1614"/>
                      <a:pt x="1298" y="1614"/>
                    </a:cubicBezTo>
                    <a:cubicBezTo>
                      <a:pt x="1215" y="1614"/>
                      <a:pt x="1215" y="1614"/>
                      <a:pt x="1215" y="1614"/>
                    </a:cubicBezTo>
                    <a:cubicBezTo>
                      <a:pt x="1182" y="1614"/>
                      <a:pt x="1155" y="1641"/>
                      <a:pt x="1155" y="1674"/>
                    </a:cubicBezTo>
                    <a:cubicBezTo>
                      <a:pt x="1155" y="1707"/>
                      <a:pt x="1182" y="1734"/>
                      <a:pt x="1215" y="1734"/>
                    </a:cubicBezTo>
                    <a:cubicBezTo>
                      <a:pt x="1477" y="1734"/>
                      <a:pt x="1477" y="1734"/>
                      <a:pt x="1477" y="1734"/>
                    </a:cubicBezTo>
                    <a:cubicBezTo>
                      <a:pt x="1469" y="1721"/>
                      <a:pt x="1462" y="1706"/>
                      <a:pt x="1457" y="1690"/>
                    </a:cubicBezTo>
                    <a:close/>
                  </a:path>
                </a:pathLst>
              </a:custGeom>
              <a:solidFill>
                <a:srgbClr val="051934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66" name="ee4pFootnotes">
            <a:extLst>
              <a:ext uri="{FF2B5EF4-FFF2-40B4-BE49-F238E27FC236}">
                <a16:creationId xmlns:a16="http://schemas.microsoft.com/office/drawing/2014/main" id="{E589185F-2EC8-49D2-A99D-FD0D99390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9787" y="6290458"/>
            <a:ext cx="7512654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1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e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DHS,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uidance on the Essential Critical Infrastructure Workforce: Ensuring Community and National Resilience in COVID-19 Respons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y CDC 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9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uidelines for those living in close quarter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10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shelter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11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nursing hom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y en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1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ow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1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he coronavirus spreads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68ECB40-FE9A-49B8-953C-5D069ECB9FE4}"/>
              </a:ext>
            </a:extLst>
          </p:cNvPr>
          <p:cNvSpPr txBox="1"/>
          <p:nvPr/>
        </p:nvSpPr>
        <p:spPr>
          <a:xfrm>
            <a:off x="4397826" y="1726898"/>
            <a:ext cx="7432221" cy="4627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Ademá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de los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riesgo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salud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asociado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a los </a:t>
            </a:r>
            <a:r>
              <a:rPr lang="en-US" sz="1600" b="1" dirty="0" err="1">
                <a:solidFill>
                  <a:srgbClr val="000000"/>
                </a:solidFill>
                <a:latin typeface="Calibri" panose="020F0502020204030204" pitchFamily="34" charset="0"/>
              </a:rPr>
              <a:t>resultados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Calibri" panose="020F0502020204030204" pitchFamily="34" charset="0"/>
              </a:rPr>
              <a:t>clínicos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y la </a:t>
            </a:r>
            <a:r>
              <a:rPr lang="en-US" sz="1600" b="1" dirty="0" err="1">
                <a:solidFill>
                  <a:srgbClr val="000000"/>
                </a:solidFill>
                <a:latin typeface="Calibri" panose="020F0502020204030204" pitchFamily="34" charset="0"/>
              </a:rPr>
              <a:t>muerte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, el KDHE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considera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en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su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enfoque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los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siguiente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riesgo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asociado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 a la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</a:rPr>
              <a:t>exposición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265760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181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59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C74C-AE5C-42D9-83A5-811610910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Fase 1 | </a:t>
            </a:r>
            <a:r>
              <a:rPr lang="en-US" dirty="0" err="1"/>
              <a:t>Trabajadores</a:t>
            </a:r>
            <a:r>
              <a:rPr lang="en-US" dirty="0"/>
              <a:t> de </a:t>
            </a:r>
            <a:r>
              <a:rPr lang="en-US" dirty="0" err="1"/>
              <a:t>salud</a:t>
            </a:r>
            <a:r>
              <a:rPr lang="en-US" dirty="0"/>
              <a:t>: </a:t>
            </a:r>
            <a:r>
              <a:rPr lang="en-US" dirty="0" err="1"/>
              <a:t>Identificando</a:t>
            </a:r>
            <a:r>
              <a:rPr lang="en-US" dirty="0"/>
              <a:t> </a:t>
            </a:r>
            <a:r>
              <a:rPr lang="en-US" dirty="0" err="1"/>
              <a:t>las</a:t>
            </a:r>
            <a:r>
              <a:rPr lang="en-US" dirty="0"/>
              <a:t> </a:t>
            </a:r>
            <a:r>
              <a:rPr lang="en-US" dirty="0" err="1"/>
              <a:t>características</a:t>
            </a:r>
            <a:r>
              <a:rPr lang="en-US" dirty="0"/>
              <a:t> y </a:t>
            </a:r>
            <a:r>
              <a:rPr lang="en-US" dirty="0" err="1"/>
              <a:t>definición</a:t>
            </a:r>
            <a:r>
              <a:rPr lang="en-US" dirty="0"/>
              <a:t> del </a:t>
            </a:r>
            <a:r>
              <a:rPr lang="en-US" dirty="0" err="1"/>
              <a:t>trabajo</a:t>
            </a:r>
            <a:r>
              <a:rPr lang="en-US" dirty="0"/>
              <a:t>  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5BD9B3A2-A7C5-43DA-B99F-C233B960B821}"/>
              </a:ext>
            </a:extLst>
          </p:cNvPr>
          <p:cNvSpPr txBox="1"/>
          <p:nvPr/>
        </p:nvSpPr>
        <p:spPr>
          <a:xfrm>
            <a:off x="3468028" y="2407288"/>
            <a:ext cx="8435494" cy="107721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126000" lvl="1">
              <a:buClr>
                <a:srgbClr val="051934"/>
              </a:buClr>
              <a:buSzPct val="100000"/>
            </a:pPr>
            <a:r>
              <a:rPr lang="es-PE" sz="1400" dirty="0">
                <a:solidFill>
                  <a:srgbClr val="000000"/>
                </a:solidFill>
                <a:latin typeface="Calibri" panose="020F0502020204030204" pitchFamily="34" charset="0"/>
              </a:rPr>
              <a:t>Trabajadores con cualquiera de las siguientes características:</a:t>
            </a:r>
          </a:p>
          <a:p>
            <a:pPr marL="378000" lvl="1" indent="-252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400" dirty="0">
                <a:solidFill>
                  <a:srgbClr val="000000"/>
                </a:solidFill>
                <a:latin typeface="Calibri" panose="020F0502020204030204" pitchFamily="34" charset="0"/>
              </a:rPr>
              <a:t>Que requieran entrar regularmente a un hospital o a un ambiente clínico de asistencia ambulatoria,</a:t>
            </a:r>
          </a:p>
          <a:p>
            <a:pPr marL="378000" lvl="1" indent="-252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400" dirty="0">
                <a:solidFill>
                  <a:srgbClr val="000000"/>
                </a:solidFill>
                <a:latin typeface="Calibri" panose="020F0502020204030204" pitchFamily="34" charset="0"/>
              </a:rPr>
              <a:t>Que estén involucrados en la respuesta a la pandemia (por ejemplo, centros de pruebas),</a:t>
            </a:r>
          </a:p>
          <a:p>
            <a:pPr marL="378000" lvl="1" indent="-252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400" dirty="0">
                <a:solidFill>
                  <a:srgbClr val="000000"/>
                </a:solidFill>
                <a:latin typeface="Calibri" panose="020F0502020204030204" pitchFamily="34" charset="0"/>
              </a:rPr>
              <a:t>Que estén en un ambiente de cuidados de salud o relacionados a la salud, en contacto con pacientes o materiales infecciosos.</a:t>
            </a:r>
          </a:p>
        </p:txBody>
      </p:sp>
      <p:sp>
        <p:nvSpPr>
          <p:cNvPr id="37" name="ee4pHeader1">
            <a:extLst>
              <a:ext uri="{FF2B5EF4-FFF2-40B4-BE49-F238E27FC236}">
                <a16:creationId xmlns:a16="http://schemas.microsoft.com/office/drawing/2014/main" id="{99576483-DC11-4253-A79D-8030C41DDDB7}"/>
              </a:ext>
            </a:extLst>
          </p:cNvPr>
          <p:cNvSpPr txBox="1"/>
          <p:nvPr/>
        </p:nvSpPr>
        <p:spPr>
          <a:xfrm>
            <a:off x="3468028" y="1491614"/>
            <a:ext cx="8435494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E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s pagadas y no pagadas que laboran en trabajos en el área de salud o relacionados a la salud, que no pueden trabajar desde casa y pueden estar directa o indirectamente expuestos a pacientes o materiales infecciosos debido a sus trabajo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252306-3D77-40FD-9AB8-1540045624C6}"/>
              </a:ext>
            </a:extLst>
          </p:cNvPr>
          <p:cNvSpPr txBox="1"/>
          <p:nvPr/>
        </p:nvSpPr>
        <p:spPr>
          <a:xfrm>
            <a:off x="3468028" y="3626346"/>
            <a:ext cx="8435494" cy="26284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Personal en instalaciones de cuidados de largo plazo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Trabajadores en instalaciones con contacto directo con pacientes, por ejemplo, médicos (MD), médicos osteópatas (DO), doctores del área de psicología (DPM), enfermeras, técnicos de emergencias médicas (EMT), estudiantes de medicina y practicantes,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Personal de laboratorios de diagnóstico, flebotomistas, trabajadores de salud relacionados a la pandemia (por ejemplo, las personas que toman las pruebas COVID)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Proveedores de salud mental, personal de farmacia, personal no-médico si está expuesto a pacientes o materiales infecciosos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Contratistas asociados a servicios médicos, incluyendo manejo de alimentos, manejo de desechos, etc.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chemeClr val="tx1"/>
                </a:solidFill>
                <a:latin typeface="Calibri" panose="020F0502020204030204" pitchFamily="34" charset="0"/>
              </a:rPr>
              <a:t>Dentistas, terapistas físicos, profesionales que realizan procedimientos electivos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chemeClr val="tx1"/>
                </a:solidFill>
                <a:latin typeface="Calibri" panose="020F0502020204030204" pitchFamily="34" charset="0"/>
              </a:rPr>
              <a:t>Trabajadores de atención en el hogar, cuidadores designados por los Centros para servicios de Medicare y Medicaid (CMS)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/>
                </a:solidFill>
                <a:latin typeface="Calibri" panose="020F0502020204030204" pitchFamily="34" charset="0"/>
              </a:rPr>
              <a:t>Trabajadores de servicios fúnebres, embalsamadores y forenses,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/>
                </a:solidFill>
                <a:latin typeface="Calibri" panose="020F0502020204030204" pitchFamily="34" charset="0"/>
              </a:rPr>
              <a:t>Personal de Centros de salud calificados federalmente (FQHC), centros de salud comunitarios (</a:t>
            </a:r>
            <a:r>
              <a:rPr lang="es-PE" sz="122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rPr>
              <a:t>CHC), red de seguridad/clínicas gratuitas, clínicas comunitarias religiosas (incluyendo clínicas financiadas por el estado),</a:t>
            </a:r>
            <a:endParaRPr lang="es-PE" sz="122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E" sz="1220" dirty="0">
                <a:solidFill>
                  <a:srgbClr val="000000"/>
                </a:solidFill>
                <a:latin typeface="Calibri" panose="020F0502020204030204" pitchFamily="34" charset="0"/>
              </a:rPr>
              <a:t>Asistentes de cuidados de salud en casa, auxiliares de enfermería.</a:t>
            </a:r>
            <a:endParaRPr lang="es-PE" sz="1220" strike="sngStrike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7" name="Rectangle: Top Corners Rounded 56">
            <a:extLst>
              <a:ext uri="{FF2B5EF4-FFF2-40B4-BE49-F238E27FC236}">
                <a16:creationId xmlns:a16="http://schemas.microsoft.com/office/drawing/2014/main" id="{164AB3C6-991D-4282-86C7-CB78143BEDE8}"/>
              </a:ext>
            </a:extLst>
          </p:cNvPr>
          <p:cNvSpPr/>
          <p:nvPr/>
        </p:nvSpPr>
        <p:spPr>
          <a:xfrm rot="5400000">
            <a:off x="1311197" y="134250"/>
            <a:ext cx="738663" cy="336106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3" name="ee4pHeader1">
            <a:extLst>
              <a:ext uri="{FF2B5EF4-FFF2-40B4-BE49-F238E27FC236}">
                <a16:creationId xmlns:a16="http://schemas.microsoft.com/office/drawing/2014/main" id="{A65430F5-E9B2-469F-8599-65AD9FAE1EF6}"/>
              </a:ext>
            </a:extLst>
          </p:cNvPr>
          <p:cNvSpPr txBox="1"/>
          <p:nvPr/>
        </p:nvSpPr>
        <p:spPr>
          <a:xfrm>
            <a:off x="288478" y="1445447"/>
            <a:ext cx="2923073" cy="73866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640080" tIns="0" rIns="0" bIns="0" rtlCol="0" anchor="ctr" anchorCtr="0">
            <a:noAutofit/>
          </a:bodyPr>
          <a:lstStyle/>
          <a:p>
            <a:pPr marL="0" lvl="3"/>
            <a:r>
              <a: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Definición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2B788A-667B-4FB5-8D66-011F5103C351}"/>
              </a:ext>
            </a:extLst>
          </p:cNvPr>
          <p:cNvGrpSpPr/>
          <p:nvPr/>
        </p:nvGrpSpPr>
        <p:grpSpPr>
          <a:xfrm>
            <a:off x="-1" y="2577597"/>
            <a:ext cx="3361060" cy="738663"/>
            <a:chOff x="-1" y="2404883"/>
            <a:chExt cx="3361060" cy="738663"/>
          </a:xfrm>
        </p:grpSpPr>
        <p:sp>
          <p:nvSpPr>
            <p:cNvPr id="58" name="Rectangle: Top Corners Rounded 57">
              <a:extLst>
                <a:ext uri="{FF2B5EF4-FFF2-40B4-BE49-F238E27FC236}">
                  <a16:creationId xmlns:a16="http://schemas.microsoft.com/office/drawing/2014/main" id="{4FAED301-307E-4751-B6F0-9EFAF58B7183}"/>
                </a:ext>
              </a:extLst>
            </p:cNvPr>
            <p:cNvSpPr/>
            <p:nvPr/>
          </p:nvSpPr>
          <p:spPr>
            <a:xfrm rot="5400000">
              <a:off x="1311197" y="1093685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1" name="ee4pHeader1">
              <a:extLst>
                <a:ext uri="{FF2B5EF4-FFF2-40B4-BE49-F238E27FC236}">
                  <a16:creationId xmlns:a16="http://schemas.microsoft.com/office/drawing/2014/main" id="{2FB48CA4-CC95-415A-8E08-7698ACC6DE1A}"/>
                </a:ext>
              </a:extLst>
            </p:cNvPr>
            <p:cNvSpPr txBox="1"/>
            <p:nvPr/>
          </p:nvSpPr>
          <p:spPr>
            <a:xfrm>
              <a:off x="218991" y="2655350"/>
              <a:ext cx="2923073" cy="2769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scripción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8B2599BC-5C8F-4F5E-93E5-7C10629815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02" y="2551028"/>
              <a:ext cx="445944" cy="446374"/>
              <a:chOff x="5273675" y="2605088"/>
              <a:chExt cx="1644650" cy="1646237"/>
            </a:xfrm>
          </p:grpSpPr>
          <p:sp>
            <p:nvSpPr>
              <p:cNvPr id="71" name="AutoShape 13">
                <a:extLst>
                  <a:ext uri="{FF2B5EF4-FFF2-40B4-BE49-F238E27FC236}">
                    <a16:creationId xmlns:a16="http://schemas.microsoft.com/office/drawing/2014/main" id="{77529577-E99C-4AA6-B3B9-F0F38F1E22A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B39ECE25-14D0-4213-A6F9-3638EE387362}"/>
                  </a:ext>
                </a:extLst>
              </p:cNvPr>
              <p:cNvGrpSpPr/>
              <p:nvPr/>
            </p:nvGrpSpPr>
            <p:grpSpPr>
              <a:xfrm>
                <a:off x="5374481" y="2739232"/>
                <a:ext cx="1443038" cy="1377949"/>
                <a:chOff x="5373687" y="2738438"/>
                <a:chExt cx="1443038" cy="1377949"/>
              </a:xfrm>
            </p:grpSpPr>
            <p:sp>
              <p:nvSpPr>
                <p:cNvPr id="73" name="Freeform 15">
                  <a:extLst>
                    <a:ext uri="{FF2B5EF4-FFF2-40B4-BE49-F238E27FC236}">
                      <a16:creationId xmlns:a16="http://schemas.microsoft.com/office/drawing/2014/main" id="{ABB98B14-3E59-47B4-BA93-A996C485C62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37225" y="2797175"/>
                  <a:ext cx="701675" cy="582612"/>
                </a:xfrm>
                <a:custGeom>
                  <a:avLst/>
                  <a:gdLst>
                    <a:gd name="T0" fmla="*/ 958 w 983"/>
                    <a:gd name="T1" fmla="*/ 576 h 816"/>
                    <a:gd name="T2" fmla="*/ 960 w 983"/>
                    <a:gd name="T3" fmla="*/ 487 h 816"/>
                    <a:gd name="T4" fmla="*/ 139 w 983"/>
                    <a:gd name="T5" fmla="*/ 142 h 816"/>
                    <a:gd name="T6" fmla="*/ 31 w 983"/>
                    <a:gd name="T7" fmla="*/ 692 h 816"/>
                    <a:gd name="T8" fmla="*/ 48 w 983"/>
                    <a:gd name="T9" fmla="*/ 700 h 816"/>
                    <a:gd name="T10" fmla="*/ 62 w 983"/>
                    <a:gd name="T11" fmla="*/ 695 h 816"/>
                    <a:gd name="T12" fmla="*/ 65 w 983"/>
                    <a:gd name="T13" fmla="*/ 664 h 816"/>
                    <a:gd name="T14" fmla="*/ 87 w 983"/>
                    <a:gd name="T15" fmla="*/ 291 h 816"/>
                    <a:gd name="T16" fmla="*/ 212 w 983"/>
                    <a:gd name="T17" fmla="*/ 414 h 816"/>
                    <a:gd name="T18" fmla="*/ 155 w 983"/>
                    <a:gd name="T19" fmla="*/ 455 h 816"/>
                    <a:gd name="T20" fmla="*/ 242 w 983"/>
                    <a:gd name="T21" fmla="*/ 455 h 816"/>
                    <a:gd name="T22" fmla="*/ 330 w 983"/>
                    <a:gd name="T23" fmla="*/ 364 h 816"/>
                    <a:gd name="T24" fmla="*/ 353 w 983"/>
                    <a:gd name="T25" fmla="*/ 365 h 816"/>
                    <a:gd name="T26" fmla="*/ 408 w 983"/>
                    <a:gd name="T27" fmla="*/ 467 h 816"/>
                    <a:gd name="T28" fmla="*/ 376 w 983"/>
                    <a:gd name="T29" fmla="*/ 659 h 816"/>
                    <a:gd name="T30" fmla="*/ 349 w 983"/>
                    <a:gd name="T31" fmla="*/ 679 h 816"/>
                    <a:gd name="T32" fmla="*/ 170 w 983"/>
                    <a:gd name="T33" fmla="*/ 675 h 816"/>
                    <a:gd name="T34" fmla="*/ 122 w 983"/>
                    <a:gd name="T35" fmla="*/ 676 h 816"/>
                    <a:gd name="T36" fmla="*/ 104 w 983"/>
                    <a:gd name="T37" fmla="*/ 712 h 816"/>
                    <a:gd name="T38" fmla="*/ 147 w 983"/>
                    <a:gd name="T39" fmla="*/ 755 h 816"/>
                    <a:gd name="T40" fmla="*/ 348 w 983"/>
                    <a:gd name="T41" fmla="*/ 723 h 816"/>
                    <a:gd name="T42" fmla="*/ 417 w 983"/>
                    <a:gd name="T43" fmla="*/ 816 h 816"/>
                    <a:gd name="T44" fmla="*/ 420 w 983"/>
                    <a:gd name="T45" fmla="*/ 729 h 816"/>
                    <a:gd name="T46" fmla="*/ 474 w 983"/>
                    <a:gd name="T47" fmla="*/ 740 h 816"/>
                    <a:gd name="T48" fmla="*/ 558 w 983"/>
                    <a:gd name="T49" fmla="*/ 739 h 816"/>
                    <a:gd name="T50" fmla="*/ 617 w 983"/>
                    <a:gd name="T51" fmla="*/ 735 h 816"/>
                    <a:gd name="T52" fmla="*/ 626 w 983"/>
                    <a:gd name="T53" fmla="*/ 816 h 816"/>
                    <a:gd name="T54" fmla="*/ 682 w 983"/>
                    <a:gd name="T55" fmla="*/ 725 h 816"/>
                    <a:gd name="T56" fmla="*/ 852 w 983"/>
                    <a:gd name="T57" fmla="*/ 765 h 816"/>
                    <a:gd name="T58" fmla="*/ 896 w 983"/>
                    <a:gd name="T59" fmla="*/ 721 h 816"/>
                    <a:gd name="T60" fmla="*/ 852 w 983"/>
                    <a:gd name="T61" fmla="*/ 678 h 816"/>
                    <a:gd name="T62" fmla="*/ 683 w 983"/>
                    <a:gd name="T63" fmla="*/ 680 h 816"/>
                    <a:gd name="T64" fmla="*/ 654 w 983"/>
                    <a:gd name="T65" fmla="*/ 659 h 816"/>
                    <a:gd name="T66" fmla="*/ 613 w 983"/>
                    <a:gd name="T67" fmla="*/ 467 h 816"/>
                    <a:gd name="T68" fmla="*/ 674 w 983"/>
                    <a:gd name="T69" fmla="*/ 366 h 816"/>
                    <a:gd name="T70" fmla="*/ 695 w 983"/>
                    <a:gd name="T71" fmla="*/ 361 h 816"/>
                    <a:gd name="T72" fmla="*/ 765 w 983"/>
                    <a:gd name="T73" fmla="*/ 437 h 816"/>
                    <a:gd name="T74" fmla="*/ 852 w 983"/>
                    <a:gd name="T75" fmla="*/ 437 h 816"/>
                    <a:gd name="T76" fmla="*/ 796 w 983"/>
                    <a:gd name="T77" fmla="*/ 395 h 816"/>
                    <a:gd name="T78" fmla="*/ 870 w 983"/>
                    <a:gd name="T79" fmla="*/ 286 h 816"/>
                    <a:gd name="T80" fmla="*/ 916 w 983"/>
                    <a:gd name="T81" fmla="*/ 505 h 816"/>
                    <a:gd name="T82" fmla="*/ 914 w 983"/>
                    <a:gd name="T83" fmla="*/ 572 h 816"/>
                    <a:gd name="T84" fmla="*/ 939 w 983"/>
                    <a:gd name="T85" fmla="*/ 668 h 816"/>
                    <a:gd name="T86" fmla="*/ 977 w 983"/>
                    <a:gd name="T87" fmla="*/ 647 h 816"/>
                    <a:gd name="T88" fmla="*/ 612 w 983"/>
                    <a:gd name="T89" fmla="*/ 673 h 816"/>
                    <a:gd name="T90" fmla="*/ 547 w 983"/>
                    <a:gd name="T91" fmla="*/ 696 h 816"/>
                    <a:gd name="T92" fmla="*/ 484 w 983"/>
                    <a:gd name="T93" fmla="*/ 697 h 816"/>
                    <a:gd name="T94" fmla="*/ 418 w 983"/>
                    <a:gd name="T95" fmla="*/ 673 h 816"/>
                    <a:gd name="T96" fmla="*/ 468 w 983"/>
                    <a:gd name="T97" fmla="*/ 507 h 816"/>
                    <a:gd name="T98" fmla="*/ 532 w 983"/>
                    <a:gd name="T99" fmla="*/ 489 h 816"/>
                    <a:gd name="T100" fmla="*/ 609 w 983"/>
                    <a:gd name="T101" fmla="*/ 665 h 816"/>
                    <a:gd name="T102" fmla="*/ 569 w 983"/>
                    <a:gd name="T103" fmla="*/ 423 h 816"/>
                    <a:gd name="T104" fmla="*/ 489 w 983"/>
                    <a:gd name="T105" fmla="*/ 445 h 816"/>
                    <a:gd name="T106" fmla="*/ 390 w 983"/>
                    <a:gd name="T107" fmla="*/ 341 h 816"/>
                    <a:gd name="T108" fmla="*/ 636 w 983"/>
                    <a:gd name="T109" fmla="*/ 343 h 816"/>
                    <a:gd name="T110" fmla="*/ 703 w 983"/>
                    <a:gd name="T111" fmla="*/ 290 h 816"/>
                    <a:gd name="T112" fmla="*/ 639 w 983"/>
                    <a:gd name="T113" fmla="*/ 297 h 816"/>
                    <a:gd name="T114" fmla="*/ 344 w 983"/>
                    <a:gd name="T115" fmla="*/ 279 h 816"/>
                    <a:gd name="T116" fmla="*/ 109 w 983"/>
                    <a:gd name="T117" fmla="*/ 251 h 816"/>
                    <a:gd name="T118" fmla="*/ 848 w 983"/>
                    <a:gd name="T119" fmla="*/ 246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83" h="816">
                      <a:moveTo>
                        <a:pt x="977" y="647"/>
                      </a:moveTo>
                      <a:cubicBezTo>
                        <a:pt x="958" y="612"/>
                        <a:pt x="957" y="586"/>
                        <a:pt x="958" y="576"/>
                      </a:cubicBezTo>
                      <a:cubicBezTo>
                        <a:pt x="960" y="552"/>
                        <a:pt x="960" y="528"/>
                        <a:pt x="960" y="505"/>
                      </a:cubicBezTo>
                      <a:cubicBezTo>
                        <a:pt x="960" y="499"/>
                        <a:pt x="960" y="493"/>
                        <a:pt x="960" y="487"/>
                      </a:cubicBezTo>
                      <a:cubicBezTo>
                        <a:pt x="960" y="214"/>
                        <a:pt x="749" y="0"/>
                        <a:pt x="481" y="0"/>
                      </a:cubicBezTo>
                      <a:cubicBezTo>
                        <a:pt x="350" y="0"/>
                        <a:pt x="229" y="50"/>
                        <a:pt x="139" y="142"/>
                      </a:cubicBezTo>
                      <a:cubicBezTo>
                        <a:pt x="49" y="234"/>
                        <a:pt x="0" y="356"/>
                        <a:pt x="0" y="487"/>
                      </a:cubicBezTo>
                      <a:cubicBezTo>
                        <a:pt x="0" y="489"/>
                        <a:pt x="2" y="657"/>
                        <a:pt x="31" y="692"/>
                      </a:cubicBezTo>
                      <a:cubicBezTo>
                        <a:pt x="33" y="694"/>
                        <a:pt x="35" y="696"/>
                        <a:pt x="37" y="697"/>
                      </a:cubicBezTo>
                      <a:cubicBezTo>
                        <a:pt x="41" y="699"/>
                        <a:pt x="45" y="700"/>
                        <a:pt x="48" y="700"/>
                      </a:cubicBezTo>
                      <a:cubicBezTo>
                        <a:pt x="49" y="700"/>
                        <a:pt x="49" y="700"/>
                        <a:pt x="50" y="700"/>
                      </a:cubicBezTo>
                      <a:cubicBezTo>
                        <a:pt x="54" y="699"/>
                        <a:pt x="59" y="698"/>
                        <a:pt x="62" y="695"/>
                      </a:cubicBezTo>
                      <a:cubicBezTo>
                        <a:pt x="68" y="690"/>
                        <a:pt x="70" y="684"/>
                        <a:pt x="70" y="677"/>
                      </a:cubicBezTo>
                      <a:cubicBezTo>
                        <a:pt x="70" y="672"/>
                        <a:pt x="68" y="668"/>
                        <a:pt x="65" y="664"/>
                      </a:cubicBezTo>
                      <a:cubicBezTo>
                        <a:pt x="55" y="650"/>
                        <a:pt x="44" y="555"/>
                        <a:pt x="44" y="487"/>
                      </a:cubicBezTo>
                      <a:cubicBezTo>
                        <a:pt x="44" y="416"/>
                        <a:pt x="60" y="350"/>
                        <a:pt x="87" y="291"/>
                      </a:cubicBezTo>
                      <a:cubicBezTo>
                        <a:pt x="299" y="333"/>
                        <a:pt x="299" y="333"/>
                        <a:pt x="299" y="333"/>
                      </a:cubicBezTo>
                      <a:cubicBezTo>
                        <a:pt x="212" y="414"/>
                        <a:pt x="212" y="414"/>
                        <a:pt x="212" y="414"/>
                      </a:cubicBezTo>
                      <a:cubicBezTo>
                        <a:pt x="207" y="413"/>
                        <a:pt x="203" y="412"/>
                        <a:pt x="198" y="412"/>
                      </a:cubicBezTo>
                      <a:cubicBezTo>
                        <a:pt x="174" y="412"/>
                        <a:pt x="155" y="431"/>
                        <a:pt x="155" y="455"/>
                      </a:cubicBezTo>
                      <a:cubicBezTo>
                        <a:pt x="155" y="479"/>
                        <a:pt x="174" y="499"/>
                        <a:pt x="198" y="499"/>
                      </a:cubicBezTo>
                      <a:cubicBezTo>
                        <a:pt x="222" y="499"/>
                        <a:pt x="242" y="479"/>
                        <a:pt x="242" y="455"/>
                      </a:cubicBezTo>
                      <a:cubicBezTo>
                        <a:pt x="242" y="452"/>
                        <a:pt x="242" y="449"/>
                        <a:pt x="241" y="447"/>
                      </a:cubicBezTo>
                      <a:cubicBezTo>
                        <a:pt x="330" y="364"/>
                        <a:pt x="330" y="364"/>
                        <a:pt x="330" y="364"/>
                      </a:cubicBezTo>
                      <a:cubicBezTo>
                        <a:pt x="335" y="365"/>
                        <a:pt x="339" y="366"/>
                        <a:pt x="344" y="366"/>
                      </a:cubicBezTo>
                      <a:cubicBezTo>
                        <a:pt x="347" y="366"/>
                        <a:pt x="350" y="366"/>
                        <a:pt x="353" y="365"/>
                      </a:cubicBezTo>
                      <a:cubicBezTo>
                        <a:pt x="413" y="445"/>
                        <a:pt x="413" y="445"/>
                        <a:pt x="413" y="445"/>
                      </a:cubicBezTo>
                      <a:cubicBezTo>
                        <a:pt x="410" y="451"/>
                        <a:pt x="408" y="459"/>
                        <a:pt x="408" y="467"/>
                      </a:cubicBezTo>
                      <a:cubicBezTo>
                        <a:pt x="408" y="481"/>
                        <a:pt x="414" y="493"/>
                        <a:pt x="424" y="501"/>
                      </a:cubicBezTo>
                      <a:cubicBezTo>
                        <a:pt x="376" y="659"/>
                        <a:pt x="376" y="659"/>
                        <a:pt x="376" y="659"/>
                      </a:cubicBezTo>
                      <a:cubicBezTo>
                        <a:pt x="368" y="661"/>
                        <a:pt x="361" y="665"/>
                        <a:pt x="355" y="671"/>
                      </a:cubicBezTo>
                      <a:cubicBezTo>
                        <a:pt x="353" y="673"/>
                        <a:pt x="350" y="676"/>
                        <a:pt x="349" y="679"/>
                      </a:cubicBezTo>
                      <a:cubicBezTo>
                        <a:pt x="184" y="689"/>
                        <a:pt x="184" y="689"/>
                        <a:pt x="184" y="689"/>
                      </a:cubicBezTo>
                      <a:cubicBezTo>
                        <a:pt x="181" y="683"/>
                        <a:pt x="176" y="679"/>
                        <a:pt x="170" y="675"/>
                      </a:cubicBezTo>
                      <a:cubicBezTo>
                        <a:pt x="164" y="671"/>
                        <a:pt x="156" y="668"/>
                        <a:pt x="147" y="668"/>
                      </a:cubicBezTo>
                      <a:cubicBezTo>
                        <a:pt x="138" y="668"/>
                        <a:pt x="129" y="671"/>
                        <a:pt x="122" y="676"/>
                      </a:cubicBezTo>
                      <a:cubicBezTo>
                        <a:pt x="113" y="683"/>
                        <a:pt x="106" y="694"/>
                        <a:pt x="104" y="706"/>
                      </a:cubicBezTo>
                      <a:cubicBezTo>
                        <a:pt x="104" y="708"/>
                        <a:pt x="104" y="710"/>
                        <a:pt x="104" y="712"/>
                      </a:cubicBezTo>
                      <a:cubicBezTo>
                        <a:pt x="104" y="726"/>
                        <a:pt x="110" y="738"/>
                        <a:pt x="121" y="746"/>
                      </a:cubicBezTo>
                      <a:cubicBezTo>
                        <a:pt x="128" y="752"/>
                        <a:pt x="137" y="755"/>
                        <a:pt x="147" y="755"/>
                      </a:cubicBezTo>
                      <a:cubicBezTo>
                        <a:pt x="164" y="755"/>
                        <a:pt x="178" y="746"/>
                        <a:pt x="185" y="733"/>
                      </a:cubicBezTo>
                      <a:cubicBezTo>
                        <a:pt x="348" y="723"/>
                        <a:pt x="348" y="723"/>
                        <a:pt x="348" y="723"/>
                      </a:cubicBezTo>
                      <a:cubicBezTo>
                        <a:pt x="354" y="734"/>
                        <a:pt x="365" y="743"/>
                        <a:pt x="378" y="745"/>
                      </a:cubicBezTo>
                      <a:cubicBezTo>
                        <a:pt x="417" y="816"/>
                        <a:pt x="417" y="816"/>
                        <a:pt x="417" y="816"/>
                      </a:cubicBezTo>
                      <a:cubicBezTo>
                        <a:pt x="468" y="816"/>
                        <a:pt x="468" y="816"/>
                        <a:pt x="468" y="816"/>
                      </a:cubicBezTo>
                      <a:cubicBezTo>
                        <a:pt x="420" y="729"/>
                        <a:pt x="420" y="729"/>
                        <a:pt x="420" y="729"/>
                      </a:cubicBezTo>
                      <a:cubicBezTo>
                        <a:pt x="420" y="729"/>
                        <a:pt x="420" y="728"/>
                        <a:pt x="420" y="728"/>
                      </a:cubicBezTo>
                      <a:cubicBezTo>
                        <a:pt x="474" y="740"/>
                        <a:pt x="474" y="740"/>
                        <a:pt x="474" y="740"/>
                      </a:cubicBezTo>
                      <a:cubicBezTo>
                        <a:pt x="480" y="758"/>
                        <a:pt x="496" y="771"/>
                        <a:pt x="516" y="771"/>
                      </a:cubicBezTo>
                      <a:cubicBezTo>
                        <a:pt x="536" y="771"/>
                        <a:pt x="553" y="757"/>
                        <a:pt x="558" y="739"/>
                      </a:cubicBezTo>
                      <a:cubicBezTo>
                        <a:pt x="610" y="728"/>
                        <a:pt x="610" y="728"/>
                        <a:pt x="610" y="728"/>
                      </a:cubicBezTo>
                      <a:cubicBezTo>
                        <a:pt x="612" y="731"/>
                        <a:pt x="614" y="733"/>
                        <a:pt x="617" y="735"/>
                      </a:cubicBezTo>
                      <a:cubicBezTo>
                        <a:pt x="577" y="816"/>
                        <a:pt x="577" y="816"/>
                        <a:pt x="577" y="816"/>
                      </a:cubicBezTo>
                      <a:cubicBezTo>
                        <a:pt x="626" y="816"/>
                        <a:pt x="626" y="816"/>
                        <a:pt x="626" y="816"/>
                      </a:cubicBezTo>
                      <a:cubicBezTo>
                        <a:pt x="663" y="741"/>
                        <a:pt x="663" y="741"/>
                        <a:pt x="663" y="741"/>
                      </a:cubicBezTo>
                      <a:cubicBezTo>
                        <a:pt x="671" y="738"/>
                        <a:pt x="677" y="732"/>
                        <a:pt x="682" y="725"/>
                      </a:cubicBezTo>
                      <a:cubicBezTo>
                        <a:pt x="812" y="738"/>
                        <a:pt x="812" y="738"/>
                        <a:pt x="812" y="738"/>
                      </a:cubicBezTo>
                      <a:cubicBezTo>
                        <a:pt x="818" y="754"/>
                        <a:pt x="834" y="765"/>
                        <a:pt x="852" y="765"/>
                      </a:cubicBezTo>
                      <a:cubicBezTo>
                        <a:pt x="858" y="765"/>
                        <a:pt x="863" y="764"/>
                        <a:pt x="868" y="762"/>
                      </a:cubicBezTo>
                      <a:cubicBezTo>
                        <a:pt x="884" y="755"/>
                        <a:pt x="896" y="740"/>
                        <a:pt x="896" y="721"/>
                      </a:cubicBezTo>
                      <a:cubicBezTo>
                        <a:pt x="896" y="717"/>
                        <a:pt x="895" y="713"/>
                        <a:pt x="894" y="709"/>
                      </a:cubicBezTo>
                      <a:cubicBezTo>
                        <a:pt x="889" y="691"/>
                        <a:pt x="872" y="678"/>
                        <a:pt x="852" y="678"/>
                      </a:cubicBezTo>
                      <a:cubicBezTo>
                        <a:pt x="838" y="678"/>
                        <a:pt x="826" y="684"/>
                        <a:pt x="818" y="694"/>
                      </a:cubicBezTo>
                      <a:cubicBezTo>
                        <a:pt x="683" y="680"/>
                        <a:pt x="683" y="680"/>
                        <a:pt x="683" y="680"/>
                      </a:cubicBezTo>
                      <a:cubicBezTo>
                        <a:pt x="679" y="674"/>
                        <a:pt x="673" y="668"/>
                        <a:pt x="666" y="664"/>
                      </a:cubicBezTo>
                      <a:cubicBezTo>
                        <a:pt x="662" y="662"/>
                        <a:pt x="658" y="660"/>
                        <a:pt x="654" y="659"/>
                      </a:cubicBezTo>
                      <a:cubicBezTo>
                        <a:pt x="598" y="499"/>
                        <a:pt x="598" y="499"/>
                        <a:pt x="598" y="499"/>
                      </a:cubicBezTo>
                      <a:cubicBezTo>
                        <a:pt x="607" y="491"/>
                        <a:pt x="613" y="480"/>
                        <a:pt x="613" y="467"/>
                      </a:cubicBezTo>
                      <a:cubicBezTo>
                        <a:pt x="613" y="459"/>
                        <a:pt x="611" y="453"/>
                        <a:pt x="608" y="447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82" y="366"/>
                        <a:pt x="689" y="364"/>
                        <a:pt x="695" y="361"/>
                      </a:cubicBezTo>
                      <a:cubicBezTo>
                        <a:pt x="766" y="427"/>
                        <a:pt x="766" y="427"/>
                        <a:pt x="766" y="427"/>
                      </a:cubicBezTo>
                      <a:cubicBezTo>
                        <a:pt x="765" y="430"/>
                        <a:pt x="765" y="433"/>
                        <a:pt x="765" y="437"/>
                      </a:cubicBezTo>
                      <a:cubicBezTo>
                        <a:pt x="765" y="461"/>
                        <a:pt x="785" y="480"/>
                        <a:pt x="809" y="480"/>
                      </a:cubicBezTo>
                      <a:cubicBezTo>
                        <a:pt x="833" y="480"/>
                        <a:pt x="852" y="461"/>
                        <a:pt x="852" y="437"/>
                      </a:cubicBezTo>
                      <a:cubicBezTo>
                        <a:pt x="852" y="413"/>
                        <a:pt x="833" y="393"/>
                        <a:pt x="809" y="393"/>
                      </a:cubicBezTo>
                      <a:cubicBezTo>
                        <a:pt x="804" y="393"/>
                        <a:pt x="800" y="394"/>
                        <a:pt x="796" y="395"/>
                      </a:cubicBezTo>
                      <a:cubicBezTo>
                        <a:pt x="726" y="329"/>
                        <a:pt x="726" y="329"/>
                        <a:pt x="726" y="329"/>
                      </a:cubicBezTo>
                      <a:cubicBezTo>
                        <a:pt x="870" y="286"/>
                        <a:pt x="870" y="286"/>
                        <a:pt x="870" y="286"/>
                      </a:cubicBezTo>
                      <a:cubicBezTo>
                        <a:pt x="899" y="346"/>
                        <a:pt x="916" y="414"/>
                        <a:pt x="916" y="487"/>
                      </a:cubicBezTo>
                      <a:cubicBezTo>
                        <a:pt x="916" y="493"/>
                        <a:pt x="916" y="499"/>
                        <a:pt x="916" y="505"/>
                      </a:cubicBezTo>
                      <a:cubicBezTo>
                        <a:pt x="916" y="528"/>
                        <a:pt x="916" y="550"/>
                        <a:pt x="914" y="572"/>
                      </a:cubicBezTo>
                      <a:cubicBezTo>
                        <a:pt x="914" y="572"/>
                        <a:pt x="914" y="572"/>
                        <a:pt x="914" y="572"/>
                      </a:cubicBezTo>
                      <a:cubicBezTo>
                        <a:pt x="912" y="598"/>
                        <a:pt x="919" y="629"/>
                        <a:pt x="933" y="658"/>
                      </a:cubicBezTo>
                      <a:cubicBezTo>
                        <a:pt x="935" y="661"/>
                        <a:pt x="937" y="665"/>
                        <a:pt x="939" y="668"/>
                      </a:cubicBezTo>
                      <a:cubicBezTo>
                        <a:pt x="945" y="679"/>
                        <a:pt x="958" y="683"/>
                        <a:pt x="969" y="677"/>
                      </a:cubicBezTo>
                      <a:cubicBezTo>
                        <a:pt x="979" y="671"/>
                        <a:pt x="983" y="657"/>
                        <a:pt x="977" y="647"/>
                      </a:cubicBezTo>
                      <a:close/>
                      <a:moveTo>
                        <a:pt x="609" y="665"/>
                      </a:moveTo>
                      <a:cubicBezTo>
                        <a:pt x="612" y="673"/>
                        <a:pt x="612" y="673"/>
                        <a:pt x="612" y="673"/>
                      </a:cubicBezTo>
                      <a:cubicBezTo>
                        <a:pt x="609" y="677"/>
                        <a:pt x="607" y="680"/>
                        <a:pt x="605" y="684"/>
                      </a:cubicBezTo>
                      <a:cubicBezTo>
                        <a:pt x="547" y="696"/>
                        <a:pt x="547" y="696"/>
                        <a:pt x="547" y="696"/>
                      </a:cubicBezTo>
                      <a:cubicBezTo>
                        <a:pt x="539" y="688"/>
                        <a:pt x="528" y="684"/>
                        <a:pt x="516" y="684"/>
                      </a:cubicBezTo>
                      <a:cubicBezTo>
                        <a:pt x="503" y="684"/>
                        <a:pt x="492" y="689"/>
                        <a:pt x="484" y="697"/>
                      </a:cubicBezTo>
                      <a:cubicBezTo>
                        <a:pt x="425" y="684"/>
                        <a:pt x="425" y="684"/>
                        <a:pt x="425" y="684"/>
                      </a:cubicBezTo>
                      <a:cubicBezTo>
                        <a:pt x="424" y="680"/>
                        <a:pt x="421" y="676"/>
                        <a:pt x="418" y="673"/>
                      </a:cubicBezTo>
                      <a:cubicBezTo>
                        <a:pt x="419" y="669"/>
                        <a:pt x="419" y="669"/>
                        <a:pt x="419" y="669"/>
                      </a:cubicBezTo>
                      <a:cubicBezTo>
                        <a:pt x="468" y="507"/>
                        <a:pt x="468" y="507"/>
                        <a:pt x="468" y="507"/>
                      </a:cubicBezTo>
                      <a:cubicBezTo>
                        <a:pt x="477" y="503"/>
                        <a:pt x="484" y="497"/>
                        <a:pt x="489" y="489"/>
                      </a:cubicBezTo>
                      <a:cubicBezTo>
                        <a:pt x="532" y="489"/>
                        <a:pt x="532" y="489"/>
                        <a:pt x="532" y="489"/>
                      </a:cubicBezTo>
                      <a:cubicBezTo>
                        <a:pt x="537" y="497"/>
                        <a:pt x="545" y="504"/>
                        <a:pt x="554" y="507"/>
                      </a:cubicBezTo>
                      <a:lnTo>
                        <a:pt x="609" y="665"/>
                      </a:lnTo>
                      <a:close/>
                      <a:moveTo>
                        <a:pt x="570" y="423"/>
                      </a:moveTo>
                      <a:cubicBezTo>
                        <a:pt x="570" y="423"/>
                        <a:pt x="570" y="423"/>
                        <a:pt x="569" y="423"/>
                      </a:cubicBezTo>
                      <a:cubicBezTo>
                        <a:pt x="553" y="423"/>
                        <a:pt x="539" y="432"/>
                        <a:pt x="532" y="445"/>
                      </a:cubicBezTo>
                      <a:cubicBezTo>
                        <a:pt x="489" y="445"/>
                        <a:pt x="489" y="445"/>
                        <a:pt x="489" y="445"/>
                      </a:cubicBezTo>
                      <a:cubicBezTo>
                        <a:pt x="481" y="432"/>
                        <a:pt x="468" y="424"/>
                        <a:pt x="452" y="423"/>
                      </a:cubicBezTo>
                      <a:cubicBezTo>
                        <a:pt x="390" y="341"/>
                        <a:pt x="390" y="341"/>
                        <a:pt x="390" y="341"/>
                      </a:cubicBezTo>
                      <a:cubicBezTo>
                        <a:pt x="635" y="341"/>
                        <a:pt x="635" y="341"/>
                        <a:pt x="635" y="341"/>
                      </a:cubicBezTo>
                      <a:cubicBezTo>
                        <a:pt x="635" y="342"/>
                        <a:pt x="636" y="342"/>
                        <a:pt x="636" y="343"/>
                      </a:cubicBezTo>
                      <a:lnTo>
                        <a:pt x="570" y="423"/>
                      </a:lnTo>
                      <a:close/>
                      <a:moveTo>
                        <a:pt x="703" y="290"/>
                      </a:moveTo>
                      <a:cubicBezTo>
                        <a:pt x="696" y="283"/>
                        <a:pt x="686" y="279"/>
                        <a:pt x="674" y="279"/>
                      </a:cubicBezTo>
                      <a:cubicBezTo>
                        <a:pt x="660" y="279"/>
                        <a:pt x="647" y="286"/>
                        <a:pt x="639" y="297"/>
                      </a:cubicBezTo>
                      <a:cubicBezTo>
                        <a:pt x="380" y="297"/>
                        <a:pt x="380" y="297"/>
                        <a:pt x="380" y="297"/>
                      </a:cubicBezTo>
                      <a:cubicBezTo>
                        <a:pt x="372" y="286"/>
                        <a:pt x="359" y="279"/>
                        <a:pt x="344" y="279"/>
                      </a:cubicBezTo>
                      <a:cubicBezTo>
                        <a:pt x="333" y="279"/>
                        <a:pt x="322" y="284"/>
                        <a:pt x="315" y="291"/>
                      </a:cubicBezTo>
                      <a:cubicBezTo>
                        <a:pt x="109" y="251"/>
                        <a:pt x="109" y="251"/>
                        <a:pt x="109" y="251"/>
                      </a:cubicBezTo>
                      <a:cubicBezTo>
                        <a:pt x="186" y="125"/>
                        <a:pt x="322" y="44"/>
                        <a:pt x="481" y="44"/>
                      </a:cubicBezTo>
                      <a:cubicBezTo>
                        <a:pt x="637" y="44"/>
                        <a:pt x="772" y="124"/>
                        <a:pt x="848" y="246"/>
                      </a:cubicBezTo>
                      <a:lnTo>
                        <a:pt x="703" y="2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4" name="Freeform 6">
                  <a:extLst>
                    <a:ext uri="{FF2B5EF4-FFF2-40B4-BE49-F238E27FC236}">
                      <a16:creationId xmlns:a16="http://schemas.microsoft.com/office/drawing/2014/main" id="{1A7D20AA-D075-4B5E-9610-A814185B12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687" y="2738438"/>
                  <a:ext cx="1443038" cy="1377949"/>
                </a:xfrm>
                <a:custGeom>
                  <a:avLst/>
                  <a:gdLst>
                    <a:gd name="connsiteX0" fmla="*/ 1427273 w 1443038"/>
                    <a:gd name="connsiteY0" fmla="*/ 1274762 h 1377949"/>
                    <a:gd name="connsiteX1" fmla="*/ 1443038 w 1443038"/>
                    <a:gd name="connsiteY1" fmla="*/ 1290527 h 1377949"/>
                    <a:gd name="connsiteX2" fmla="*/ 1443038 w 1443038"/>
                    <a:gd name="connsiteY2" fmla="*/ 1362184 h 1377949"/>
                    <a:gd name="connsiteX3" fmla="*/ 1427273 w 1443038"/>
                    <a:gd name="connsiteY3" fmla="*/ 1377949 h 1377949"/>
                    <a:gd name="connsiteX4" fmla="*/ 1355615 w 1443038"/>
                    <a:gd name="connsiteY4" fmla="*/ 1377949 h 1377949"/>
                    <a:gd name="connsiteX5" fmla="*/ 1339850 w 1443038"/>
                    <a:gd name="connsiteY5" fmla="*/ 1362184 h 1377949"/>
                    <a:gd name="connsiteX6" fmla="*/ 1355615 w 1443038"/>
                    <a:gd name="connsiteY6" fmla="*/ 1346420 h 1377949"/>
                    <a:gd name="connsiteX7" fmla="*/ 1411509 w 1443038"/>
                    <a:gd name="connsiteY7" fmla="*/ 1346420 h 1377949"/>
                    <a:gd name="connsiteX8" fmla="*/ 1411509 w 1443038"/>
                    <a:gd name="connsiteY8" fmla="*/ 1290527 h 1377949"/>
                    <a:gd name="connsiteX9" fmla="*/ 1427273 w 1443038"/>
                    <a:gd name="connsiteY9" fmla="*/ 1274762 h 1377949"/>
                    <a:gd name="connsiteX10" fmla="*/ 15765 w 1443038"/>
                    <a:gd name="connsiteY10" fmla="*/ 1274762 h 1377949"/>
                    <a:gd name="connsiteX11" fmla="*/ 31529 w 1443038"/>
                    <a:gd name="connsiteY11" fmla="*/ 1290527 h 1377949"/>
                    <a:gd name="connsiteX12" fmla="*/ 31529 w 1443038"/>
                    <a:gd name="connsiteY12" fmla="*/ 1346420 h 1377949"/>
                    <a:gd name="connsiteX13" fmla="*/ 87423 w 1443038"/>
                    <a:gd name="connsiteY13" fmla="*/ 1346420 h 1377949"/>
                    <a:gd name="connsiteX14" fmla="*/ 103188 w 1443038"/>
                    <a:gd name="connsiteY14" fmla="*/ 1362184 h 1377949"/>
                    <a:gd name="connsiteX15" fmla="*/ 87423 w 1443038"/>
                    <a:gd name="connsiteY15" fmla="*/ 1377949 h 1377949"/>
                    <a:gd name="connsiteX16" fmla="*/ 15765 w 1443038"/>
                    <a:gd name="connsiteY16" fmla="*/ 1377949 h 1377949"/>
                    <a:gd name="connsiteX17" fmla="*/ 0 w 1443038"/>
                    <a:gd name="connsiteY17" fmla="*/ 1362184 h 1377949"/>
                    <a:gd name="connsiteX18" fmla="*/ 0 w 1443038"/>
                    <a:gd name="connsiteY18" fmla="*/ 1290527 h 1377949"/>
                    <a:gd name="connsiteX19" fmla="*/ 15765 w 1443038"/>
                    <a:gd name="connsiteY19" fmla="*/ 1274762 h 1377949"/>
                    <a:gd name="connsiteX20" fmla="*/ 502474 w 1443038"/>
                    <a:gd name="connsiteY20" fmla="*/ 969962 h 1377949"/>
                    <a:gd name="connsiteX21" fmla="*/ 513894 w 1443038"/>
                    <a:gd name="connsiteY21" fmla="*/ 969962 h 1377949"/>
                    <a:gd name="connsiteX22" fmla="*/ 533880 w 1443038"/>
                    <a:gd name="connsiteY22" fmla="*/ 986406 h 1377949"/>
                    <a:gd name="connsiteX23" fmla="*/ 544586 w 1443038"/>
                    <a:gd name="connsiteY23" fmla="*/ 994985 h 1377949"/>
                    <a:gd name="connsiteX24" fmla="*/ 718030 w 1443038"/>
                    <a:gd name="connsiteY24" fmla="*/ 1137261 h 1377949"/>
                    <a:gd name="connsiteX25" fmla="*/ 726595 w 1443038"/>
                    <a:gd name="connsiteY25" fmla="*/ 1136546 h 1377949"/>
                    <a:gd name="connsiteX26" fmla="*/ 900038 w 1443038"/>
                    <a:gd name="connsiteY26" fmla="*/ 994985 h 1377949"/>
                    <a:gd name="connsiteX27" fmla="*/ 910745 w 1443038"/>
                    <a:gd name="connsiteY27" fmla="*/ 986406 h 1377949"/>
                    <a:gd name="connsiteX28" fmla="*/ 930730 w 1443038"/>
                    <a:gd name="connsiteY28" fmla="*/ 969962 h 1377949"/>
                    <a:gd name="connsiteX29" fmla="*/ 942150 w 1443038"/>
                    <a:gd name="connsiteY29" fmla="*/ 969962 h 1377949"/>
                    <a:gd name="connsiteX30" fmla="*/ 1207669 w 1443038"/>
                    <a:gd name="connsiteY30" fmla="*/ 1017149 h 1377949"/>
                    <a:gd name="connsiteX31" fmla="*/ 1363268 w 1443038"/>
                    <a:gd name="connsiteY31" fmla="*/ 1243789 h 1377949"/>
                    <a:gd name="connsiteX32" fmla="*/ 1348279 w 1443038"/>
                    <a:gd name="connsiteY32" fmla="*/ 1265237 h 1377949"/>
                    <a:gd name="connsiteX33" fmla="*/ 96345 w 1443038"/>
                    <a:gd name="connsiteY33" fmla="*/ 1265237 h 1377949"/>
                    <a:gd name="connsiteX34" fmla="*/ 81356 w 1443038"/>
                    <a:gd name="connsiteY34" fmla="*/ 1243789 h 1377949"/>
                    <a:gd name="connsiteX35" fmla="*/ 236956 w 1443038"/>
                    <a:gd name="connsiteY35" fmla="*/ 1017149 h 1377949"/>
                    <a:gd name="connsiteX36" fmla="*/ 502474 w 1443038"/>
                    <a:gd name="connsiteY36" fmla="*/ 969962 h 1377949"/>
                    <a:gd name="connsiteX37" fmla="*/ 461962 w 1443038"/>
                    <a:gd name="connsiteY37" fmla="*/ 736600 h 1377949"/>
                    <a:gd name="connsiteX38" fmla="*/ 496284 w 1443038"/>
                    <a:gd name="connsiteY38" fmla="*/ 736600 h 1377949"/>
                    <a:gd name="connsiteX39" fmla="*/ 559922 w 1443038"/>
                    <a:gd name="connsiteY39" fmla="*/ 858347 h 1377949"/>
                    <a:gd name="connsiteX40" fmla="*/ 567072 w 1443038"/>
                    <a:gd name="connsiteY40" fmla="*/ 864043 h 1377949"/>
                    <a:gd name="connsiteX41" fmla="*/ 595673 w 1443038"/>
                    <a:gd name="connsiteY41" fmla="*/ 885402 h 1377949"/>
                    <a:gd name="connsiteX42" fmla="*/ 721519 w 1443038"/>
                    <a:gd name="connsiteY42" fmla="*/ 938800 h 1377949"/>
                    <a:gd name="connsiteX43" fmla="*/ 847364 w 1443038"/>
                    <a:gd name="connsiteY43" fmla="*/ 885402 h 1377949"/>
                    <a:gd name="connsiteX44" fmla="*/ 875966 w 1443038"/>
                    <a:gd name="connsiteY44" fmla="*/ 864043 h 1377949"/>
                    <a:gd name="connsiteX45" fmla="*/ 883116 w 1443038"/>
                    <a:gd name="connsiteY45" fmla="*/ 858347 h 1377949"/>
                    <a:gd name="connsiteX46" fmla="*/ 946754 w 1443038"/>
                    <a:gd name="connsiteY46" fmla="*/ 736600 h 1377949"/>
                    <a:gd name="connsiteX47" fmla="*/ 981075 w 1443038"/>
                    <a:gd name="connsiteY47" fmla="*/ 736600 h 1377949"/>
                    <a:gd name="connsiteX48" fmla="*/ 918152 w 1443038"/>
                    <a:gd name="connsiteY48" fmla="*/ 864043 h 1377949"/>
                    <a:gd name="connsiteX49" fmla="*/ 910287 w 1443038"/>
                    <a:gd name="connsiteY49" fmla="*/ 874722 h 1377949"/>
                    <a:gd name="connsiteX50" fmla="*/ 910287 w 1443038"/>
                    <a:gd name="connsiteY50" fmla="*/ 916728 h 1377949"/>
                    <a:gd name="connsiteX51" fmla="*/ 910287 w 1443038"/>
                    <a:gd name="connsiteY51" fmla="*/ 945919 h 1377949"/>
                    <a:gd name="connsiteX52" fmla="*/ 878826 w 1443038"/>
                    <a:gd name="connsiteY52" fmla="*/ 971550 h 1377949"/>
                    <a:gd name="connsiteX53" fmla="*/ 878826 w 1443038"/>
                    <a:gd name="connsiteY53" fmla="*/ 939511 h 1377949"/>
                    <a:gd name="connsiteX54" fmla="*/ 878826 w 1443038"/>
                    <a:gd name="connsiteY54" fmla="*/ 901065 h 1377949"/>
                    <a:gd name="connsiteX55" fmla="*/ 847364 w 1443038"/>
                    <a:gd name="connsiteY55" fmla="*/ 922424 h 1377949"/>
                    <a:gd name="connsiteX56" fmla="*/ 721519 w 1443038"/>
                    <a:gd name="connsiteY56" fmla="*/ 970126 h 1377949"/>
                    <a:gd name="connsiteX57" fmla="*/ 595673 w 1443038"/>
                    <a:gd name="connsiteY57" fmla="*/ 922424 h 1377949"/>
                    <a:gd name="connsiteX58" fmla="*/ 564212 w 1443038"/>
                    <a:gd name="connsiteY58" fmla="*/ 901065 h 1377949"/>
                    <a:gd name="connsiteX59" fmla="*/ 564212 w 1443038"/>
                    <a:gd name="connsiteY59" fmla="*/ 939511 h 1377949"/>
                    <a:gd name="connsiteX60" fmla="*/ 564212 w 1443038"/>
                    <a:gd name="connsiteY60" fmla="*/ 971550 h 1377949"/>
                    <a:gd name="connsiteX61" fmla="*/ 532750 w 1443038"/>
                    <a:gd name="connsiteY61" fmla="*/ 945919 h 1377949"/>
                    <a:gd name="connsiteX62" fmla="*/ 532750 w 1443038"/>
                    <a:gd name="connsiteY62" fmla="*/ 916728 h 1377949"/>
                    <a:gd name="connsiteX63" fmla="*/ 532750 w 1443038"/>
                    <a:gd name="connsiteY63" fmla="*/ 874722 h 1377949"/>
                    <a:gd name="connsiteX64" fmla="*/ 524885 w 1443038"/>
                    <a:gd name="connsiteY64" fmla="*/ 864043 h 1377949"/>
                    <a:gd name="connsiteX65" fmla="*/ 461962 w 1443038"/>
                    <a:gd name="connsiteY65" fmla="*/ 736600 h 1377949"/>
                    <a:gd name="connsiteX66" fmla="*/ 195101 w 1443038"/>
                    <a:gd name="connsiteY66" fmla="*/ 673100 h 1377949"/>
                    <a:gd name="connsiteX67" fmla="*/ 396526 w 1443038"/>
                    <a:gd name="connsiteY67" fmla="*/ 673100 h 1377949"/>
                    <a:gd name="connsiteX68" fmla="*/ 435810 w 1443038"/>
                    <a:gd name="connsiteY68" fmla="*/ 673100 h 1377949"/>
                    <a:gd name="connsiteX69" fmla="*/ 470095 w 1443038"/>
                    <a:gd name="connsiteY69" fmla="*/ 673100 h 1377949"/>
                    <a:gd name="connsiteX70" fmla="*/ 503666 w 1443038"/>
                    <a:gd name="connsiteY70" fmla="*/ 673100 h 1377949"/>
                    <a:gd name="connsiteX71" fmla="*/ 679377 w 1443038"/>
                    <a:gd name="connsiteY71" fmla="*/ 673100 h 1377949"/>
                    <a:gd name="connsiteX72" fmla="*/ 715090 w 1443038"/>
                    <a:gd name="connsiteY72" fmla="*/ 673100 h 1377949"/>
                    <a:gd name="connsiteX73" fmla="*/ 760804 w 1443038"/>
                    <a:gd name="connsiteY73" fmla="*/ 673100 h 1377949"/>
                    <a:gd name="connsiteX74" fmla="*/ 795803 w 1443038"/>
                    <a:gd name="connsiteY74" fmla="*/ 673100 h 1377949"/>
                    <a:gd name="connsiteX75" fmla="*/ 939371 w 1443038"/>
                    <a:gd name="connsiteY75" fmla="*/ 673100 h 1377949"/>
                    <a:gd name="connsiteX76" fmla="*/ 972942 w 1443038"/>
                    <a:gd name="connsiteY76" fmla="*/ 673100 h 1377949"/>
                    <a:gd name="connsiteX77" fmla="*/ 1007227 w 1443038"/>
                    <a:gd name="connsiteY77" fmla="*/ 673100 h 1377949"/>
                    <a:gd name="connsiteX78" fmla="*/ 1046512 w 1443038"/>
                    <a:gd name="connsiteY78" fmla="*/ 673100 h 1377949"/>
                    <a:gd name="connsiteX79" fmla="*/ 1247936 w 1443038"/>
                    <a:gd name="connsiteY79" fmla="*/ 673100 h 1377949"/>
                    <a:gd name="connsiteX80" fmla="*/ 1263650 w 1443038"/>
                    <a:gd name="connsiteY80" fmla="*/ 688975 h 1377949"/>
                    <a:gd name="connsiteX81" fmla="*/ 1247936 w 1443038"/>
                    <a:gd name="connsiteY81" fmla="*/ 704850 h 1377949"/>
                    <a:gd name="connsiteX82" fmla="*/ 1027941 w 1443038"/>
                    <a:gd name="connsiteY82" fmla="*/ 704850 h 1377949"/>
                    <a:gd name="connsiteX83" fmla="*/ 994370 w 1443038"/>
                    <a:gd name="connsiteY83" fmla="*/ 704850 h 1377949"/>
                    <a:gd name="connsiteX84" fmla="*/ 960085 w 1443038"/>
                    <a:gd name="connsiteY84" fmla="*/ 704850 h 1377949"/>
                    <a:gd name="connsiteX85" fmla="*/ 925800 w 1443038"/>
                    <a:gd name="connsiteY85" fmla="*/ 704850 h 1377949"/>
                    <a:gd name="connsiteX86" fmla="*/ 770089 w 1443038"/>
                    <a:gd name="connsiteY86" fmla="*/ 704850 h 1377949"/>
                    <a:gd name="connsiteX87" fmla="*/ 705805 w 1443038"/>
                    <a:gd name="connsiteY87" fmla="*/ 704850 h 1377949"/>
                    <a:gd name="connsiteX88" fmla="*/ 517237 w 1443038"/>
                    <a:gd name="connsiteY88" fmla="*/ 704850 h 1377949"/>
                    <a:gd name="connsiteX89" fmla="*/ 482952 w 1443038"/>
                    <a:gd name="connsiteY89" fmla="*/ 704850 h 1377949"/>
                    <a:gd name="connsiteX90" fmla="*/ 448667 w 1443038"/>
                    <a:gd name="connsiteY90" fmla="*/ 704850 h 1377949"/>
                    <a:gd name="connsiteX91" fmla="*/ 415097 w 1443038"/>
                    <a:gd name="connsiteY91" fmla="*/ 704850 h 1377949"/>
                    <a:gd name="connsiteX92" fmla="*/ 195101 w 1443038"/>
                    <a:gd name="connsiteY92" fmla="*/ 704850 h 1377949"/>
                    <a:gd name="connsiteX93" fmla="*/ 179387 w 1443038"/>
                    <a:gd name="connsiteY93" fmla="*/ 688975 h 1377949"/>
                    <a:gd name="connsiteX94" fmla="*/ 195101 w 1443038"/>
                    <a:gd name="connsiteY94" fmla="*/ 673100 h 1377949"/>
                    <a:gd name="connsiteX95" fmla="*/ 1062037 w 1443038"/>
                    <a:gd name="connsiteY95" fmla="*/ 579437 h 1377949"/>
                    <a:gd name="connsiteX96" fmla="*/ 1062037 w 1443038"/>
                    <a:gd name="connsiteY96" fmla="*/ 581548 h 1377949"/>
                    <a:gd name="connsiteX97" fmla="*/ 1034263 w 1443038"/>
                    <a:gd name="connsiteY97" fmla="*/ 641349 h 1377949"/>
                    <a:gd name="connsiteX98" fmla="*/ 985837 w 1443038"/>
                    <a:gd name="connsiteY98" fmla="*/ 641349 h 1377949"/>
                    <a:gd name="connsiteX99" fmla="*/ 992959 w 1443038"/>
                    <a:gd name="connsiteY99" fmla="*/ 633610 h 1377949"/>
                    <a:gd name="connsiteX100" fmla="*/ 1025718 w 1443038"/>
                    <a:gd name="connsiteY100" fmla="*/ 596322 h 1377949"/>
                    <a:gd name="connsiteX101" fmla="*/ 1062037 w 1443038"/>
                    <a:gd name="connsiteY101" fmla="*/ 579437 h 1377949"/>
                    <a:gd name="connsiteX102" fmla="*/ 381000 w 1443038"/>
                    <a:gd name="connsiteY102" fmla="*/ 579437 h 1377949"/>
                    <a:gd name="connsiteX103" fmla="*/ 417320 w 1443038"/>
                    <a:gd name="connsiteY103" fmla="*/ 596322 h 1377949"/>
                    <a:gd name="connsiteX104" fmla="*/ 450079 w 1443038"/>
                    <a:gd name="connsiteY104" fmla="*/ 633610 h 1377949"/>
                    <a:gd name="connsiteX105" fmla="*/ 457200 w 1443038"/>
                    <a:gd name="connsiteY105" fmla="*/ 641349 h 1377949"/>
                    <a:gd name="connsiteX106" fmla="*/ 408774 w 1443038"/>
                    <a:gd name="connsiteY106" fmla="*/ 641349 h 1377949"/>
                    <a:gd name="connsiteX107" fmla="*/ 381000 w 1443038"/>
                    <a:gd name="connsiteY107" fmla="*/ 582955 h 1377949"/>
                    <a:gd name="connsiteX108" fmla="*/ 381000 w 1443038"/>
                    <a:gd name="connsiteY108" fmla="*/ 579437 h 1377949"/>
                    <a:gd name="connsiteX109" fmla="*/ 1355615 w 1443038"/>
                    <a:gd name="connsiteY109" fmla="*/ 0 h 1377949"/>
                    <a:gd name="connsiteX110" fmla="*/ 1427273 w 1443038"/>
                    <a:gd name="connsiteY110" fmla="*/ 0 h 1377949"/>
                    <a:gd name="connsiteX111" fmla="*/ 1443038 w 1443038"/>
                    <a:gd name="connsiteY111" fmla="*/ 15765 h 1377949"/>
                    <a:gd name="connsiteX112" fmla="*/ 1443038 w 1443038"/>
                    <a:gd name="connsiteY112" fmla="*/ 87422 h 1377949"/>
                    <a:gd name="connsiteX113" fmla="*/ 1427273 w 1443038"/>
                    <a:gd name="connsiteY113" fmla="*/ 103187 h 1377949"/>
                    <a:gd name="connsiteX114" fmla="*/ 1411509 w 1443038"/>
                    <a:gd name="connsiteY114" fmla="*/ 87422 h 1377949"/>
                    <a:gd name="connsiteX115" fmla="*/ 1411509 w 1443038"/>
                    <a:gd name="connsiteY115" fmla="*/ 31529 h 1377949"/>
                    <a:gd name="connsiteX116" fmla="*/ 1355615 w 1443038"/>
                    <a:gd name="connsiteY116" fmla="*/ 31529 h 1377949"/>
                    <a:gd name="connsiteX117" fmla="*/ 1339850 w 1443038"/>
                    <a:gd name="connsiteY117" fmla="*/ 15765 h 1377949"/>
                    <a:gd name="connsiteX118" fmla="*/ 1355615 w 1443038"/>
                    <a:gd name="connsiteY118" fmla="*/ 0 h 1377949"/>
                    <a:gd name="connsiteX119" fmla="*/ 15765 w 1443038"/>
                    <a:gd name="connsiteY119" fmla="*/ 0 h 1377949"/>
                    <a:gd name="connsiteX120" fmla="*/ 87423 w 1443038"/>
                    <a:gd name="connsiteY120" fmla="*/ 0 h 1377949"/>
                    <a:gd name="connsiteX121" fmla="*/ 103188 w 1443038"/>
                    <a:gd name="connsiteY121" fmla="*/ 15765 h 1377949"/>
                    <a:gd name="connsiteX122" fmla="*/ 87423 w 1443038"/>
                    <a:gd name="connsiteY122" fmla="*/ 31529 h 1377949"/>
                    <a:gd name="connsiteX123" fmla="*/ 31529 w 1443038"/>
                    <a:gd name="connsiteY123" fmla="*/ 31529 h 1377949"/>
                    <a:gd name="connsiteX124" fmla="*/ 31529 w 1443038"/>
                    <a:gd name="connsiteY124" fmla="*/ 87422 h 1377949"/>
                    <a:gd name="connsiteX125" fmla="*/ 15765 w 1443038"/>
                    <a:gd name="connsiteY125" fmla="*/ 103187 h 1377949"/>
                    <a:gd name="connsiteX126" fmla="*/ 0 w 1443038"/>
                    <a:gd name="connsiteY126" fmla="*/ 87422 h 1377949"/>
                    <a:gd name="connsiteX127" fmla="*/ 0 w 1443038"/>
                    <a:gd name="connsiteY127" fmla="*/ 15765 h 1377949"/>
                    <a:gd name="connsiteX128" fmla="*/ 15765 w 1443038"/>
                    <a:gd name="connsiteY128" fmla="*/ 0 h 1377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1443038" h="1377949">
                      <a:moveTo>
                        <a:pt x="1427273" y="1274762"/>
                      </a:moveTo>
                      <a:cubicBezTo>
                        <a:pt x="1435872" y="1274762"/>
                        <a:pt x="1443038" y="1281928"/>
                        <a:pt x="1443038" y="1290527"/>
                      </a:cubicBezTo>
                      <a:cubicBezTo>
                        <a:pt x="1443038" y="1290527"/>
                        <a:pt x="1443038" y="1290527"/>
                        <a:pt x="1443038" y="1362184"/>
                      </a:cubicBezTo>
                      <a:cubicBezTo>
                        <a:pt x="1443038" y="1371500"/>
                        <a:pt x="1435872" y="1377949"/>
                        <a:pt x="1427273" y="1377949"/>
                      </a:cubicBezTo>
                      <a:cubicBezTo>
                        <a:pt x="1427273" y="1377949"/>
                        <a:pt x="1427273" y="1377949"/>
                        <a:pt x="1355615" y="1377949"/>
                      </a:cubicBezTo>
                      <a:cubicBezTo>
                        <a:pt x="1347016" y="1377949"/>
                        <a:pt x="1339850" y="1371500"/>
                        <a:pt x="1339850" y="1362184"/>
                      </a:cubicBezTo>
                      <a:cubicBezTo>
                        <a:pt x="1339850" y="1353586"/>
                        <a:pt x="1347016" y="1346420"/>
                        <a:pt x="1355615" y="1346420"/>
                      </a:cubicBezTo>
                      <a:cubicBezTo>
                        <a:pt x="1355615" y="1346420"/>
                        <a:pt x="1355615" y="1346420"/>
                        <a:pt x="1411509" y="1346420"/>
                      </a:cubicBezTo>
                      <a:cubicBezTo>
                        <a:pt x="1411509" y="1346420"/>
                        <a:pt x="1411509" y="1346420"/>
                        <a:pt x="1411509" y="1290527"/>
                      </a:cubicBezTo>
                      <a:cubicBezTo>
                        <a:pt x="1411509" y="1281928"/>
                        <a:pt x="1418674" y="1274762"/>
                        <a:pt x="1427273" y="1274762"/>
                      </a:cubicBezTo>
                      <a:close/>
                      <a:moveTo>
                        <a:pt x="15765" y="1274762"/>
                      </a:moveTo>
                      <a:cubicBezTo>
                        <a:pt x="24364" y="1274762"/>
                        <a:pt x="31529" y="1281928"/>
                        <a:pt x="31529" y="1290527"/>
                      </a:cubicBezTo>
                      <a:cubicBezTo>
                        <a:pt x="31529" y="1290527"/>
                        <a:pt x="31529" y="1290527"/>
                        <a:pt x="31529" y="1346420"/>
                      </a:cubicBezTo>
                      <a:cubicBezTo>
                        <a:pt x="31529" y="1346420"/>
                        <a:pt x="31529" y="1346420"/>
                        <a:pt x="87423" y="1346420"/>
                      </a:cubicBezTo>
                      <a:cubicBezTo>
                        <a:pt x="96022" y="1346420"/>
                        <a:pt x="103188" y="1353586"/>
                        <a:pt x="103188" y="1362184"/>
                      </a:cubicBezTo>
                      <a:cubicBezTo>
                        <a:pt x="103188" y="1371500"/>
                        <a:pt x="96022" y="1377949"/>
                        <a:pt x="87423" y="1377949"/>
                      </a:cubicBezTo>
                      <a:cubicBezTo>
                        <a:pt x="87423" y="1377949"/>
                        <a:pt x="87423" y="1377949"/>
                        <a:pt x="15765" y="1377949"/>
                      </a:cubicBezTo>
                      <a:cubicBezTo>
                        <a:pt x="7166" y="1377949"/>
                        <a:pt x="0" y="1371500"/>
                        <a:pt x="0" y="1362184"/>
                      </a:cubicBezTo>
                      <a:cubicBezTo>
                        <a:pt x="0" y="1362184"/>
                        <a:pt x="0" y="1362184"/>
                        <a:pt x="0" y="1290527"/>
                      </a:cubicBezTo>
                      <a:cubicBezTo>
                        <a:pt x="0" y="1281928"/>
                        <a:pt x="7166" y="1274762"/>
                        <a:pt x="15765" y="1274762"/>
                      </a:cubicBezTo>
                      <a:close/>
                      <a:moveTo>
                        <a:pt x="502474" y="969962"/>
                      </a:moveTo>
                      <a:cubicBezTo>
                        <a:pt x="509612" y="969962"/>
                        <a:pt x="513894" y="969962"/>
                        <a:pt x="513894" y="969962"/>
                      </a:cubicBezTo>
                      <a:cubicBezTo>
                        <a:pt x="513894" y="969962"/>
                        <a:pt x="521032" y="975682"/>
                        <a:pt x="533880" y="986406"/>
                      </a:cubicBezTo>
                      <a:cubicBezTo>
                        <a:pt x="537448" y="989266"/>
                        <a:pt x="541017" y="992126"/>
                        <a:pt x="544586" y="994985"/>
                      </a:cubicBezTo>
                      <a:cubicBezTo>
                        <a:pt x="588839" y="1032163"/>
                        <a:pt x="671635" y="1100083"/>
                        <a:pt x="718030" y="1137261"/>
                      </a:cubicBezTo>
                      <a:cubicBezTo>
                        <a:pt x="720885" y="1138691"/>
                        <a:pt x="724453" y="1138691"/>
                        <a:pt x="726595" y="1136546"/>
                      </a:cubicBezTo>
                      <a:cubicBezTo>
                        <a:pt x="787264" y="1087929"/>
                        <a:pt x="860068" y="1028588"/>
                        <a:pt x="900038" y="994985"/>
                      </a:cubicBezTo>
                      <a:cubicBezTo>
                        <a:pt x="903607" y="992126"/>
                        <a:pt x="907176" y="989266"/>
                        <a:pt x="910745" y="986406"/>
                      </a:cubicBezTo>
                      <a:cubicBezTo>
                        <a:pt x="923592" y="975682"/>
                        <a:pt x="930730" y="969962"/>
                        <a:pt x="930730" y="969962"/>
                      </a:cubicBezTo>
                      <a:cubicBezTo>
                        <a:pt x="930730" y="969962"/>
                        <a:pt x="935013" y="969962"/>
                        <a:pt x="942150" y="969962"/>
                      </a:cubicBezTo>
                      <a:cubicBezTo>
                        <a:pt x="982835" y="971392"/>
                        <a:pt x="1124873" y="978542"/>
                        <a:pt x="1207669" y="1017149"/>
                      </a:cubicBezTo>
                      <a:cubicBezTo>
                        <a:pt x="1286182" y="1052897"/>
                        <a:pt x="1343283" y="1190882"/>
                        <a:pt x="1363268" y="1243789"/>
                      </a:cubicBezTo>
                      <a:cubicBezTo>
                        <a:pt x="1366837" y="1253798"/>
                        <a:pt x="1359700" y="1265237"/>
                        <a:pt x="1348279" y="1265237"/>
                      </a:cubicBezTo>
                      <a:cubicBezTo>
                        <a:pt x="1348279" y="1265237"/>
                        <a:pt x="1348279" y="1265237"/>
                        <a:pt x="96345" y="1265237"/>
                      </a:cubicBezTo>
                      <a:cubicBezTo>
                        <a:pt x="84924" y="1265237"/>
                        <a:pt x="77787" y="1253798"/>
                        <a:pt x="81356" y="1243789"/>
                      </a:cubicBezTo>
                      <a:cubicBezTo>
                        <a:pt x="101341" y="1190882"/>
                        <a:pt x="158442" y="1052897"/>
                        <a:pt x="236956" y="1017149"/>
                      </a:cubicBezTo>
                      <a:cubicBezTo>
                        <a:pt x="319752" y="978542"/>
                        <a:pt x="461790" y="971392"/>
                        <a:pt x="502474" y="969962"/>
                      </a:cubicBezTo>
                      <a:close/>
                      <a:moveTo>
                        <a:pt x="461962" y="736600"/>
                      </a:moveTo>
                      <a:cubicBezTo>
                        <a:pt x="461962" y="736600"/>
                        <a:pt x="461962" y="736600"/>
                        <a:pt x="496284" y="736600"/>
                      </a:cubicBezTo>
                      <a:cubicBezTo>
                        <a:pt x="520595" y="792846"/>
                        <a:pt x="547051" y="846955"/>
                        <a:pt x="559922" y="858347"/>
                      </a:cubicBezTo>
                      <a:cubicBezTo>
                        <a:pt x="562067" y="860483"/>
                        <a:pt x="564927" y="861907"/>
                        <a:pt x="567072" y="864043"/>
                      </a:cubicBezTo>
                      <a:cubicBezTo>
                        <a:pt x="574937" y="870450"/>
                        <a:pt x="584948" y="877570"/>
                        <a:pt x="595673" y="885402"/>
                      </a:cubicBezTo>
                      <a:cubicBezTo>
                        <a:pt x="634285" y="911033"/>
                        <a:pt x="687912" y="938800"/>
                        <a:pt x="721519" y="938800"/>
                      </a:cubicBezTo>
                      <a:cubicBezTo>
                        <a:pt x="755125" y="938800"/>
                        <a:pt x="808753" y="911033"/>
                        <a:pt x="847364" y="885402"/>
                      </a:cubicBezTo>
                      <a:cubicBezTo>
                        <a:pt x="858090" y="877570"/>
                        <a:pt x="868100" y="870450"/>
                        <a:pt x="875966" y="864043"/>
                      </a:cubicBezTo>
                      <a:cubicBezTo>
                        <a:pt x="878111" y="861907"/>
                        <a:pt x="880971" y="860483"/>
                        <a:pt x="883116" y="858347"/>
                      </a:cubicBezTo>
                      <a:cubicBezTo>
                        <a:pt x="895986" y="846955"/>
                        <a:pt x="922443" y="792846"/>
                        <a:pt x="946754" y="736600"/>
                      </a:cubicBezTo>
                      <a:cubicBezTo>
                        <a:pt x="946754" y="736600"/>
                        <a:pt x="946754" y="736600"/>
                        <a:pt x="981075" y="736600"/>
                      </a:cubicBezTo>
                      <a:cubicBezTo>
                        <a:pt x="961769" y="782878"/>
                        <a:pt x="936743" y="835564"/>
                        <a:pt x="918152" y="864043"/>
                      </a:cubicBezTo>
                      <a:cubicBezTo>
                        <a:pt x="915292" y="868315"/>
                        <a:pt x="912432" y="871874"/>
                        <a:pt x="910287" y="874722"/>
                      </a:cubicBezTo>
                      <a:cubicBezTo>
                        <a:pt x="910287" y="874722"/>
                        <a:pt x="910287" y="874722"/>
                        <a:pt x="910287" y="916728"/>
                      </a:cubicBezTo>
                      <a:cubicBezTo>
                        <a:pt x="910287" y="916728"/>
                        <a:pt x="910287" y="916728"/>
                        <a:pt x="910287" y="945919"/>
                      </a:cubicBezTo>
                      <a:cubicBezTo>
                        <a:pt x="908142" y="947343"/>
                        <a:pt x="896701" y="957311"/>
                        <a:pt x="878826" y="971550"/>
                      </a:cubicBezTo>
                      <a:lnTo>
                        <a:pt x="878826" y="939511"/>
                      </a:lnTo>
                      <a:cubicBezTo>
                        <a:pt x="878826" y="939511"/>
                        <a:pt x="878826" y="939511"/>
                        <a:pt x="878826" y="901065"/>
                      </a:cubicBezTo>
                      <a:cubicBezTo>
                        <a:pt x="869530" y="908185"/>
                        <a:pt x="858805" y="915305"/>
                        <a:pt x="847364" y="922424"/>
                      </a:cubicBezTo>
                      <a:cubicBezTo>
                        <a:pt x="807323" y="946631"/>
                        <a:pt x="757985" y="970126"/>
                        <a:pt x="721519" y="970126"/>
                      </a:cubicBezTo>
                      <a:cubicBezTo>
                        <a:pt x="685052" y="970126"/>
                        <a:pt x="635715" y="946631"/>
                        <a:pt x="595673" y="922424"/>
                      </a:cubicBezTo>
                      <a:cubicBezTo>
                        <a:pt x="584233" y="915305"/>
                        <a:pt x="573507" y="908185"/>
                        <a:pt x="564212" y="901065"/>
                      </a:cubicBezTo>
                      <a:cubicBezTo>
                        <a:pt x="564212" y="901065"/>
                        <a:pt x="564212" y="901065"/>
                        <a:pt x="564212" y="939511"/>
                      </a:cubicBezTo>
                      <a:cubicBezTo>
                        <a:pt x="564212" y="939511"/>
                        <a:pt x="564212" y="939511"/>
                        <a:pt x="564212" y="971550"/>
                      </a:cubicBezTo>
                      <a:cubicBezTo>
                        <a:pt x="547051" y="957311"/>
                        <a:pt x="534895" y="947343"/>
                        <a:pt x="532750" y="945919"/>
                      </a:cubicBezTo>
                      <a:cubicBezTo>
                        <a:pt x="532750" y="945919"/>
                        <a:pt x="532750" y="945919"/>
                        <a:pt x="532750" y="916728"/>
                      </a:cubicBezTo>
                      <a:cubicBezTo>
                        <a:pt x="532750" y="916728"/>
                        <a:pt x="532750" y="916728"/>
                        <a:pt x="532750" y="874722"/>
                      </a:cubicBezTo>
                      <a:cubicBezTo>
                        <a:pt x="530605" y="871874"/>
                        <a:pt x="527745" y="868315"/>
                        <a:pt x="524885" y="864043"/>
                      </a:cubicBezTo>
                      <a:cubicBezTo>
                        <a:pt x="506294" y="835564"/>
                        <a:pt x="481268" y="782878"/>
                        <a:pt x="461962" y="736600"/>
                      </a:cubicBezTo>
                      <a:close/>
                      <a:moveTo>
                        <a:pt x="195101" y="673100"/>
                      </a:moveTo>
                      <a:cubicBezTo>
                        <a:pt x="195101" y="673100"/>
                        <a:pt x="195101" y="673100"/>
                        <a:pt x="396526" y="673100"/>
                      </a:cubicBezTo>
                      <a:cubicBezTo>
                        <a:pt x="396526" y="673100"/>
                        <a:pt x="396526" y="673100"/>
                        <a:pt x="435810" y="673100"/>
                      </a:cubicBezTo>
                      <a:cubicBezTo>
                        <a:pt x="435810" y="673100"/>
                        <a:pt x="435810" y="673100"/>
                        <a:pt x="470095" y="673100"/>
                      </a:cubicBezTo>
                      <a:cubicBezTo>
                        <a:pt x="470095" y="673100"/>
                        <a:pt x="470095" y="673100"/>
                        <a:pt x="503666" y="673100"/>
                      </a:cubicBezTo>
                      <a:cubicBezTo>
                        <a:pt x="503666" y="673100"/>
                        <a:pt x="503666" y="673100"/>
                        <a:pt x="679377" y="673100"/>
                      </a:cubicBezTo>
                      <a:cubicBezTo>
                        <a:pt x="679377" y="673100"/>
                        <a:pt x="679377" y="673100"/>
                        <a:pt x="715090" y="673100"/>
                      </a:cubicBezTo>
                      <a:cubicBezTo>
                        <a:pt x="715090" y="673100"/>
                        <a:pt x="715090" y="673100"/>
                        <a:pt x="760804" y="673100"/>
                      </a:cubicBezTo>
                      <a:cubicBezTo>
                        <a:pt x="760804" y="673100"/>
                        <a:pt x="760804" y="673100"/>
                        <a:pt x="795803" y="673100"/>
                      </a:cubicBezTo>
                      <a:cubicBezTo>
                        <a:pt x="795803" y="673100"/>
                        <a:pt x="795803" y="673100"/>
                        <a:pt x="939371" y="673100"/>
                      </a:cubicBezTo>
                      <a:cubicBezTo>
                        <a:pt x="939371" y="673100"/>
                        <a:pt x="939371" y="673100"/>
                        <a:pt x="972942" y="673100"/>
                      </a:cubicBezTo>
                      <a:cubicBezTo>
                        <a:pt x="972942" y="673100"/>
                        <a:pt x="972942" y="673100"/>
                        <a:pt x="1007227" y="673100"/>
                      </a:cubicBezTo>
                      <a:cubicBezTo>
                        <a:pt x="1007227" y="673100"/>
                        <a:pt x="1007227" y="673100"/>
                        <a:pt x="1046512" y="673100"/>
                      </a:cubicBezTo>
                      <a:cubicBezTo>
                        <a:pt x="1046512" y="673100"/>
                        <a:pt x="1046512" y="673100"/>
                        <a:pt x="1247936" y="673100"/>
                      </a:cubicBezTo>
                      <a:cubicBezTo>
                        <a:pt x="1256507" y="673100"/>
                        <a:pt x="1263650" y="680316"/>
                        <a:pt x="1263650" y="688975"/>
                      </a:cubicBezTo>
                      <a:cubicBezTo>
                        <a:pt x="1263650" y="697634"/>
                        <a:pt x="1256507" y="704850"/>
                        <a:pt x="1247936" y="704850"/>
                      </a:cubicBezTo>
                      <a:cubicBezTo>
                        <a:pt x="1247936" y="704850"/>
                        <a:pt x="1247936" y="704850"/>
                        <a:pt x="1027941" y="704850"/>
                      </a:cubicBezTo>
                      <a:cubicBezTo>
                        <a:pt x="1027941" y="704850"/>
                        <a:pt x="1027941" y="704850"/>
                        <a:pt x="994370" y="704850"/>
                      </a:cubicBezTo>
                      <a:cubicBezTo>
                        <a:pt x="994370" y="704850"/>
                        <a:pt x="994370" y="704850"/>
                        <a:pt x="960085" y="704850"/>
                      </a:cubicBezTo>
                      <a:cubicBezTo>
                        <a:pt x="960085" y="704850"/>
                        <a:pt x="960085" y="704850"/>
                        <a:pt x="925800" y="704850"/>
                      </a:cubicBezTo>
                      <a:cubicBezTo>
                        <a:pt x="925800" y="704850"/>
                        <a:pt x="925800" y="704850"/>
                        <a:pt x="770089" y="704850"/>
                      </a:cubicBezTo>
                      <a:cubicBezTo>
                        <a:pt x="770089" y="704850"/>
                        <a:pt x="770089" y="704850"/>
                        <a:pt x="705805" y="704850"/>
                      </a:cubicBezTo>
                      <a:cubicBezTo>
                        <a:pt x="705805" y="704850"/>
                        <a:pt x="705805" y="704850"/>
                        <a:pt x="517237" y="704850"/>
                      </a:cubicBezTo>
                      <a:cubicBezTo>
                        <a:pt x="517237" y="704850"/>
                        <a:pt x="517237" y="704850"/>
                        <a:pt x="482952" y="704850"/>
                      </a:cubicBezTo>
                      <a:cubicBezTo>
                        <a:pt x="482952" y="704850"/>
                        <a:pt x="482952" y="704850"/>
                        <a:pt x="448667" y="704850"/>
                      </a:cubicBezTo>
                      <a:cubicBezTo>
                        <a:pt x="448667" y="704850"/>
                        <a:pt x="448667" y="704850"/>
                        <a:pt x="415097" y="704850"/>
                      </a:cubicBezTo>
                      <a:cubicBezTo>
                        <a:pt x="415097" y="704850"/>
                        <a:pt x="415097" y="704850"/>
                        <a:pt x="195101" y="704850"/>
                      </a:cubicBezTo>
                      <a:cubicBezTo>
                        <a:pt x="186530" y="704850"/>
                        <a:pt x="179387" y="697634"/>
                        <a:pt x="179387" y="688975"/>
                      </a:cubicBezTo>
                      <a:cubicBezTo>
                        <a:pt x="179387" y="680316"/>
                        <a:pt x="186530" y="673100"/>
                        <a:pt x="195101" y="673100"/>
                      </a:cubicBezTo>
                      <a:close/>
                      <a:moveTo>
                        <a:pt x="1062037" y="579437"/>
                      </a:moveTo>
                      <a:cubicBezTo>
                        <a:pt x="1062037" y="580140"/>
                        <a:pt x="1062037" y="580844"/>
                        <a:pt x="1062037" y="581548"/>
                      </a:cubicBezTo>
                      <a:cubicBezTo>
                        <a:pt x="1059901" y="594211"/>
                        <a:pt x="1054204" y="620243"/>
                        <a:pt x="1034263" y="641349"/>
                      </a:cubicBezTo>
                      <a:cubicBezTo>
                        <a:pt x="1034263" y="641349"/>
                        <a:pt x="1034263" y="641349"/>
                        <a:pt x="985837" y="641349"/>
                      </a:cubicBezTo>
                      <a:cubicBezTo>
                        <a:pt x="987262" y="637831"/>
                        <a:pt x="990110" y="635721"/>
                        <a:pt x="992959" y="633610"/>
                      </a:cubicBezTo>
                      <a:cubicBezTo>
                        <a:pt x="1010762" y="625167"/>
                        <a:pt x="1020733" y="609689"/>
                        <a:pt x="1025718" y="596322"/>
                      </a:cubicBezTo>
                      <a:cubicBezTo>
                        <a:pt x="1025718" y="596322"/>
                        <a:pt x="1025718" y="596322"/>
                        <a:pt x="1062037" y="579437"/>
                      </a:cubicBezTo>
                      <a:close/>
                      <a:moveTo>
                        <a:pt x="381000" y="579437"/>
                      </a:moveTo>
                      <a:cubicBezTo>
                        <a:pt x="381000" y="579437"/>
                        <a:pt x="381000" y="579437"/>
                        <a:pt x="417320" y="596322"/>
                      </a:cubicBezTo>
                      <a:cubicBezTo>
                        <a:pt x="422305" y="609689"/>
                        <a:pt x="432275" y="625167"/>
                        <a:pt x="450079" y="633610"/>
                      </a:cubicBezTo>
                      <a:cubicBezTo>
                        <a:pt x="452927" y="635721"/>
                        <a:pt x="455776" y="637831"/>
                        <a:pt x="457200" y="641349"/>
                      </a:cubicBezTo>
                      <a:cubicBezTo>
                        <a:pt x="457200" y="641349"/>
                        <a:pt x="457200" y="641349"/>
                        <a:pt x="408774" y="641349"/>
                      </a:cubicBezTo>
                      <a:cubicBezTo>
                        <a:pt x="390258" y="621650"/>
                        <a:pt x="383849" y="597729"/>
                        <a:pt x="381000" y="582955"/>
                      </a:cubicBezTo>
                      <a:cubicBezTo>
                        <a:pt x="381000" y="582251"/>
                        <a:pt x="381000" y="580844"/>
                        <a:pt x="381000" y="579437"/>
                      </a:cubicBezTo>
                      <a:close/>
                      <a:moveTo>
                        <a:pt x="1355615" y="0"/>
                      </a:moveTo>
                      <a:cubicBezTo>
                        <a:pt x="1355615" y="0"/>
                        <a:pt x="1355615" y="0"/>
                        <a:pt x="1427273" y="0"/>
                      </a:cubicBezTo>
                      <a:cubicBezTo>
                        <a:pt x="1435872" y="0"/>
                        <a:pt x="1443038" y="6449"/>
                        <a:pt x="1443038" y="15765"/>
                      </a:cubicBezTo>
                      <a:cubicBezTo>
                        <a:pt x="1443038" y="15765"/>
                        <a:pt x="1443038" y="15765"/>
                        <a:pt x="1443038" y="87422"/>
                      </a:cubicBezTo>
                      <a:cubicBezTo>
                        <a:pt x="1443038" y="96021"/>
                        <a:pt x="1435872" y="103187"/>
                        <a:pt x="1427273" y="103187"/>
                      </a:cubicBezTo>
                      <a:cubicBezTo>
                        <a:pt x="1418674" y="103187"/>
                        <a:pt x="1411509" y="96021"/>
                        <a:pt x="1411509" y="87422"/>
                      </a:cubicBezTo>
                      <a:cubicBezTo>
                        <a:pt x="1411509" y="87422"/>
                        <a:pt x="1411509" y="87422"/>
                        <a:pt x="1411509" y="31529"/>
                      </a:cubicBezTo>
                      <a:cubicBezTo>
                        <a:pt x="1411509" y="31529"/>
                        <a:pt x="1411509" y="31529"/>
                        <a:pt x="1355615" y="31529"/>
                      </a:cubicBezTo>
                      <a:cubicBezTo>
                        <a:pt x="1347016" y="31529"/>
                        <a:pt x="1339850" y="24363"/>
                        <a:pt x="1339850" y="15765"/>
                      </a:cubicBezTo>
                      <a:cubicBezTo>
                        <a:pt x="1339850" y="6449"/>
                        <a:pt x="1347016" y="0"/>
                        <a:pt x="1355615" y="0"/>
                      </a:cubicBezTo>
                      <a:close/>
                      <a:moveTo>
                        <a:pt x="15765" y="0"/>
                      </a:moveTo>
                      <a:cubicBezTo>
                        <a:pt x="15765" y="0"/>
                        <a:pt x="15765" y="0"/>
                        <a:pt x="87423" y="0"/>
                      </a:cubicBezTo>
                      <a:cubicBezTo>
                        <a:pt x="96022" y="0"/>
                        <a:pt x="103188" y="6449"/>
                        <a:pt x="103188" y="15765"/>
                      </a:cubicBezTo>
                      <a:cubicBezTo>
                        <a:pt x="103188" y="24363"/>
                        <a:pt x="96022" y="31529"/>
                        <a:pt x="87423" y="31529"/>
                      </a:cubicBezTo>
                      <a:cubicBezTo>
                        <a:pt x="87423" y="31529"/>
                        <a:pt x="87423" y="31529"/>
                        <a:pt x="31529" y="31529"/>
                      </a:cubicBezTo>
                      <a:cubicBezTo>
                        <a:pt x="31529" y="31529"/>
                        <a:pt x="31529" y="31529"/>
                        <a:pt x="31529" y="87422"/>
                      </a:cubicBezTo>
                      <a:cubicBezTo>
                        <a:pt x="31529" y="96021"/>
                        <a:pt x="24364" y="103187"/>
                        <a:pt x="15765" y="103187"/>
                      </a:cubicBezTo>
                      <a:cubicBezTo>
                        <a:pt x="7166" y="103187"/>
                        <a:pt x="0" y="96021"/>
                        <a:pt x="0" y="87422"/>
                      </a:cubicBezTo>
                      <a:cubicBezTo>
                        <a:pt x="0" y="87422"/>
                        <a:pt x="0" y="87422"/>
                        <a:pt x="0" y="15765"/>
                      </a:cubicBezTo>
                      <a:cubicBezTo>
                        <a:pt x="0" y="6449"/>
                        <a:pt x="7166" y="0"/>
                        <a:pt x="1576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12CA921-E695-4429-9D10-F2DDBD3FC939}"/>
              </a:ext>
            </a:extLst>
          </p:cNvPr>
          <p:cNvGrpSpPr/>
          <p:nvPr/>
        </p:nvGrpSpPr>
        <p:grpSpPr>
          <a:xfrm>
            <a:off x="-1" y="3743566"/>
            <a:ext cx="3361060" cy="738663"/>
            <a:chOff x="-1" y="3595785"/>
            <a:chExt cx="3361060" cy="738663"/>
          </a:xfrm>
        </p:grpSpPr>
        <p:sp>
          <p:nvSpPr>
            <p:cNvPr id="60" name="Rectangle: Top Corners Rounded 59">
              <a:extLst>
                <a:ext uri="{FF2B5EF4-FFF2-40B4-BE49-F238E27FC236}">
                  <a16:creationId xmlns:a16="http://schemas.microsoft.com/office/drawing/2014/main" id="{DC221BE5-15BE-4FAF-AC00-CAD3213B5151}"/>
                </a:ext>
              </a:extLst>
            </p:cNvPr>
            <p:cNvSpPr/>
            <p:nvPr/>
          </p:nvSpPr>
          <p:spPr>
            <a:xfrm rot="5400000">
              <a:off x="1311197" y="2284587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64" name="ee4pHeader1">
              <a:extLst>
                <a:ext uri="{FF2B5EF4-FFF2-40B4-BE49-F238E27FC236}">
                  <a16:creationId xmlns:a16="http://schemas.microsoft.com/office/drawing/2014/main" id="{0A042399-D447-4A66-8C64-1A2E4C080950}"/>
                </a:ext>
              </a:extLst>
            </p:cNvPr>
            <p:cNvSpPr txBox="1"/>
            <p:nvPr/>
          </p:nvSpPr>
          <p:spPr>
            <a:xfrm>
              <a:off x="288478" y="3688118"/>
              <a:ext cx="2923073" cy="55399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Ejemplos</a:t>
              </a:r>
              <a:r>
                <a:rPr lang="en-US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grupos</a:t>
              </a:r>
              <a:r>
                <a:rPr lang="en-US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incluídos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02C79647-B808-481A-BFD0-3E8A939C36A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94" y="3741930"/>
              <a:ext cx="446374" cy="446374"/>
              <a:chOff x="5273803" y="2606803"/>
              <a:chExt cx="1645920" cy="1645920"/>
            </a:xfrm>
          </p:grpSpPr>
          <p:sp>
            <p:nvSpPr>
              <p:cNvPr id="76" name="AutoShape 23">
                <a:extLst>
                  <a:ext uri="{FF2B5EF4-FFF2-40B4-BE49-F238E27FC236}">
                    <a16:creationId xmlns:a16="http://schemas.microsoft.com/office/drawing/2014/main" id="{8B9187F6-3358-4C90-BFB4-A9C5135ECD1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BED54913-EF40-4833-9261-FC34ED25BFBA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78" name="Freeform 25">
                  <a:extLst>
                    <a:ext uri="{FF2B5EF4-FFF2-40B4-BE49-F238E27FC236}">
                      <a16:creationId xmlns:a16="http://schemas.microsoft.com/office/drawing/2014/main" id="{E4603FA0-1AA7-496D-9611-DDA6906C12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26">
                  <a:extLst>
                    <a:ext uri="{FF2B5EF4-FFF2-40B4-BE49-F238E27FC236}">
                      <a16:creationId xmlns:a16="http://schemas.microsoft.com/office/drawing/2014/main" id="{57F67B61-EDBC-4656-8B0F-02AAB30CFD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60C4300-022D-43DD-B48F-F0D568173134}"/>
              </a:ext>
            </a:extLst>
          </p:cNvPr>
          <p:cNvGrpSpPr>
            <a:grpSpLocks noChangeAspect="1"/>
          </p:cNvGrpSpPr>
          <p:nvPr/>
        </p:nvGrpSpPr>
        <p:grpSpPr>
          <a:xfrm>
            <a:off x="318702" y="1591592"/>
            <a:ext cx="446806" cy="446374"/>
            <a:chOff x="5273675" y="2606675"/>
            <a:chExt cx="1646238" cy="1644650"/>
          </a:xfrm>
        </p:grpSpPr>
        <p:sp>
          <p:nvSpPr>
            <p:cNvPr id="81" name="AutoShape 3">
              <a:extLst>
                <a:ext uri="{FF2B5EF4-FFF2-40B4-BE49-F238E27FC236}">
                  <a16:creationId xmlns:a16="http://schemas.microsoft.com/office/drawing/2014/main" id="{343A587F-E446-4F42-AFDF-BE45BB98E2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4064CA36-F712-46CB-8955-0FBF20A05E57}"/>
                </a:ext>
              </a:extLst>
            </p:cNvPr>
            <p:cNvGrpSpPr/>
            <p:nvPr/>
          </p:nvGrpSpPr>
          <p:grpSpPr>
            <a:xfrm>
              <a:off x="5651500" y="2971800"/>
              <a:ext cx="892175" cy="1109663"/>
              <a:chOff x="5651500" y="2971800"/>
              <a:chExt cx="892175" cy="1109663"/>
            </a:xfrm>
          </p:grpSpPr>
          <p:sp>
            <p:nvSpPr>
              <p:cNvPr id="83" name="Freeform 20">
                <a:extLst>
                  <a:ext uri="{FF2B5EF4-FFF2-40B4-BE49-F238E27FC236}">
                    <a16:creationId xmlns:a16="http://schemas.microsoft.com/office/drawing/2014/main" id="{18ACDC06-9062-4702-BD36-1CE76C679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2971800"/>
                <a:ext cx="892175" cy="1109663"/>
              </a:xfrm>
              <a:custGeom>
                <a:avLst/>
                <a:gdLst>
                  <a:gd name="connsiteX0" fmla="*/ 30163 w 892175"/>
                  <a:gd name="connsiteY0" fmla="*/ 198438 h 1109663"/>
                  <a:gd name="connsiteX1" fmla="*/ 30163 w 892175"/>
                  <a:gd name="connsiteY1" fmla="*/ 1077913 h 1109663"/>
                  <a:gd name="connsiteX2" fmla="*/ 654051 w 892175"/>
                  <a:gd name="connsiteY2" fmla="*/ 1077913 h 1109663"/>
                  <a:gd name="connsiteX3" fmla="*/ 654051 w 892175"/>
                  <a:gd name="connsiteY3" fmla="*/ 942976 h 1109663"/>
                  <a:gd name="connsiteX4" fmla="*/ 654051 w 892175"/>
                  <a:gd name="connsiteY4" fmla="*/ 927101 h 1109663"/>
                  <a:gd name="connsiteX5" fmla="*/ 654051 w 892175"/>
                  <a:gd name="connsiteY5" fmla="*/ 911226 h 1109663"/>
                  <a:gd name="connsiteX6" fmla="*/ 654051 w 892175"/>
                  <a:gd name="connsiteY6" fmla="*/ 198438 h 1109663"/>
                  <a:gd name="connsiteX7" fmla="*/ 238126 w 892175"/>
                  <a:gd name="connsiteY7" fmla="*/ 198438 h 1109663"/>
                  <a:gd name="connsiteX8" fmla="*/ 222251 w 892175"/>
                  <a:gd name="connsiteY8" fmla="*/ 198438 h 1109663"/>
                  <a:gd name="connsiteX9" fmla="*/ 206376 w 892175"/>
                  <a:gd name="connsiteY9" fmla="*/ 198438 h 1109663"/>
                  <a:gd name="connsiteX10" fmla="*/ 238125 w 892175"/>
                  <a:gd name="connsiteY10" fmla="*/ 31750 h 1109663"/>
                  <a:gd name="connsiteX11" fmla="*/ 238125 w 892175"/>
                  <a:gd name="connsiteY11" fmla="*/ 166670 h 1109663"/>
                  <a:gd name="connsiteX12" fmla="*/ 670100 w 892175"/>
                  <a:gd name="connsiteY12" fmla="*/ 166670 h 1109663"/>
                  <a:gd name="connsiteX13" fmla="*/ 685782 w 892175"/>
                  <a:gd name="connsiteY13" fmla="*/ 182375 h 1109663"/>
                  <a:gd name="connsiteX14" fmla="*/ 685782 w 892175"/>
                  <a:gd name="connsiteY14" fmla="*/ 911225 h 1109663"/>
                  <a:gd name="connsiteX15" fmla="*/ 860425 w 892175"/>
                  <a:gd name="connsiteY15" fmla="*/ 911225 h 1109663"/>
                  <a:gd name="connsiteX16" fmla="*/ 860425 w 892175"/>
                  <a:gd name="connsiteY16" fmla="*/ 31750 h 1109663"/>
                  <a:gd name="connsiteX17" fmla="*/ 238125 w 892175"/>
                  <a:gd name="connsiteY17" fmla="*/ 31750 h 1109663"/>
                  <a:gd name="connsiteX18" fmla="*/ 221973 w 892175"/>
                  <a:gd name="connsiteY18" fmla="*/ 0 h 1109663"/>
                  <a:gd name="connsiteX19" fmla="*/ 876473 w 892175"/>
                  <a:gd name="connsiteY19" fmla="*/ 0 h 1109663"/>
                  <a:gd name="connsiteX20" fmla="*/ 892175 w 892175"/>
                  <a:gd name="connsiteY20" fmla="*/ 15720 h 1109663"/>
                  <a:gd name="connsiteX21" fmla="*/ 892175 w 892175"/>
                  <a:gd name="connsiteY21" fmla="*/ 927458 h 1109663"/>
                  <a:gd name="connsiteX22" fmla="*/ 876473 w 892175"/>
                  <a:gd name="connsiteY22" fmla="*/ 943178 h 1109663"/>
                  <a:gd name="connsiteX23" fmla="*/ 685904 w 892175"/>
                  <a:gd name="connsiteY23" fmla="*/ 943178 h 1109663"/>
                  <a:gd name="connsiteX24" fmla="*/ 685904 w 892175"/>
                  <a:gd name="connsiteY24" fmla="*/ 1093944 h 1109663"/>
                  <a:gd name="connsiteX25" fmla="*/ 670202 w 892175"/>
                  <a:gd name="connsiteY25" fmla="*/ 1109663 h 1109663"/>
                  <a:gd name="connsiteX26" fmla="*/ 15703 w 892175"/>
                  <a:gd name="connsiteY26" fmla="*/ 1109663 h 1109663"/>
                  <a:gd name="connsiteX27" fmla="*/ 0 w 892175"/>
                  <a:gd name="connsiteY27" fmla="*/ 1093944 h 1109663"/>
                  <a:gd name="connsiteX28" fmla="*/ 0 w 892175"/>
                  <a:gd name="connsiteY28" fmla="*/ 182205 h 1109663"/>
                  <a:gd name="connsiteX29" fmla="*/ 15703 w 892175"/>
                  <a:gd name="connsiteY29" fmla="*/ 166485 h 1109663"/>
                  <a:gd name="connsiteX30" fmla="*/ 206271 w 892175"/>
                  <a:gd name="connsiteY30" fmla="*/ 166485 h 1109663"/>
                  <a:gd name="connsiteX31" fmla="*/ 206271 w 892175"/>
                  <a:gd name="connsiteY31" fmla="*/ 15720 h 1109663"/>
                  <a:gd name="connsiteX32" fmla="*/ 221973 w 892175"/>
                  <a:gd name="connsiteY32" fmla="*/ 0 h 110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92175" h="1109663">
                    <a:moveTo>
                      <a:pt x="30163" y="198438"/>
                    </a:moveTo>
                    <a:lnTo>
                      <a:pt x="30163" y="1077913"/>
                    </a:lnTo>
                    <a:lnTo>
                      <a:pt x="654051" y="1077913"/>
                    </a:lnTo>
                    <a:lnTo>
                      <a:pt x="654051" y="942976"/>
                    </a:lnTo>
                    <a:lnTo>
                      <a:pt x="654051" y="927101"/>
                    </a:lnTo>
                    <a:lnTo>
                      <a:pt x="654051" y="911226"/>
                    </a:lnTo>
                    <a:lnTo>
                      <a:pt x="654051" y="198438"/>
                    </a:lnTo>
                    <a:lnTo>
                      <a:pt x="238126" y="198438"/>
                    </a:lnTo>
                    <a:lnTo>
                      <a:pt x="222251" y="198438"/>
                    </a:lnTo>
                    <a:lnTo>
                      <a:pt x="206376" y="198438"/>
                    </a:lnTo>
                    <a:close/>
                    <a:moveTo>
                      <a:pt x="238125" y="31750"/>
                    </a:moveTo>
                    <a:lnTo>
                      <a:pt x="238125" y="166670"/>
                    </a:lnTo>
                    <a:cubicBezTo>
                      <a:pt x="238125" y="166670"/>
                      <a:pt x="238125" y="166670"/>
                      <a:pt x="670100" y="166670"/>
                    </a:cubicBezTo>
                    <a:cubicBezTo>
                      <a:pt x="678654" y="166670"/>
                      <a:pt x="685782" y="173808"/>
                      <a:pt x="685782" y="182375"/>
                    </a:cubicBezTo>
                    <a:cubicBezTo>
                      <a:pt x="685782" y="182375"/>
                      <a:pt x="685782" y="182375"/>
                      <a:pt x="685782" y="911225"/>
                    </a:cubicBezTo>
                    <a:cubicBezTo>
                      <a:pt x="685782" y="911225"/>
                      <a:pt x="685782" y="911225"/>
                      <a:pt x="860425" y="911225"/>
                    </a:cubicBezTo>
                    <a:cubicBezTo>
                      <a:pt x="860425" y="911225"/>
                      <a:pt x="860425" y="911225"/>
                      <a:pt x="860425" y="31750"/>
                    </a:cubicBezTo>
                    <a:cubicBezTo>
                      <a:pt x="860425" y="31750"/>
                      <a:pt x="860425" y="31750"/>
                      <a:pt x="238125" y="31750"/>
                    </a:cubicBezTo>
                    <a:close/>
                    <a:moveTo>
                      <a:pt x="221973" y="0"/>
                    </a:moveTo>
                    <a:cubicBezTo>
                      <a:pt x="221973" y="0"/>
                      <a:pt x="221973" y="0"/>
                      <a:pt x="876473" y="0"/>
                    </a:cubicBezTo>
                    <a:cubicBezTo>
                      <a:pt x="885752" y="0"/>
                      <a:pt x="892175" y="7145"/>
                      <a:pt x="892175" y="15720"/>
                    </a:cubicBezTo>
                    <a:cubicBezTo>
                      <a:pt x="892175" y="15720"/>
                      <a:pt x="892175" y="15720"/>
                      <a:pt x="892175" y="927458"/>
                    </a:cubicBezTo>
                    <a:cubicBezTo>
                      <a:pt x="892175" y="936033"/>
                      <a:pt x="885752" y="943178"/>
                      <a:pt x="876473" y="943178"/>
                    </a:cubicBezTo>
                    <a:cubicBezTo>
                      <a:pt x="876473" y="943178"/>
                      <a:pt x="876473" y="943178"/>
                      <a:pt x="685904" y="943178"/>
                    </a:cubicBezTo>
                    <a:cubicBezTo>
                      <a:pt x="685904" y="943178"/>
                      <a:pt x="685904" y="943178"/>
                      <a:pt x="685904" y="1093944"/>
                    </a:cubicBezTo>
                    <a:cubicBezTo>
                      <a:pt x="685904" y="1102518"/>
                      <a:pt x="678767" y="1109663"/>
                      <a:pt x="670202" y="1109663"/>
                    </a:cubicBezTo>
                    <a:cubicBezTo>
                      <a:pt x="670202" y="1109663"/>
                      <a:pt x="670202" y="1109663"/>
                      <a:pt x="15703" y="1109663"/>
                    </a:cubicBezTo>
                    <a:cubicBezTo>
                      <a:pt x="6424" y="1109663"/>
                      <a:pt x="0" y="1102518"/>
                      <a:pt x="0" y="1093944"/>
                    </a:cubicBezTo>
                    <a:cubicBezTo>
                      <a:pt x="0" y="1093944"/>
                      <a:pt x="0" y="1093944"/>
                      <a:pt x="0" y="182205"/>
                    </a:cubicBezTo>
                    <a:cubicBezTo>
                      <a:pt x="0" y="173631"/>
                      <a:pt x="6424" y="166485"/>
                      <a:pt x="15703" y="166485"/>
                    </a:cubicBezTo>
                    <a:cubicBezTo>
                      <a:pt x="15703" y="166485"/>
                      <a:pt x="15703" y="166485"/>
                      <a:pt x="206271" y="166485"/>
                    </a:cubicBezTo>
                    <a:cubicBezTo>
                      <a:pt x="206271" y="166485"/>
                      <a:pt x="206271" y="166485"/>
                      <a:pt x="206271" y="15720"/>
                    </a:cubicBezTo>
                    <a:cubicBezTo>
                      <a:pt x="206271" y="7145"/>
                      <a:pt x="213409" y="0"/>
                      <a:pt x="2219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21">
                <a:extLst>
                  <a:ext uri="{FF2B5EF4-FFF2-40B4-BE49-F238E27FC236}">
                    <a16:creationId xmlns:a16="http://schemas.microsoft.com/office/drawing/2014/main" id="{C3F0E903-E662-44BF-A9E7-EADAE2290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88" y="3287713"/>
                <a:ext cx="454025" cy="646113"/>
              </a:xfrm>
              <a:custGeom>
                <a:avLst/>
                <a:gdLst>
                  <a:gd name="connsiteX0" fmla="*/ 15681 w 454025"/>
                  <a:gd name="connsiteY0" fmla="*/ 615950 h 646113"/>
                  <a:gd name="connsiteX1" fmla="*/ 91233 w 454025"/>
                  <a:gd name="connsiteY1" fmla="*/ 615950 h 646113"/>
                  <a:gd name="connsiteX2" fmla="*/ 439057 w 454025"/>
                  <a:gd name="connsiteY2" fmla="*/ 615950 h 646113"/>
                  <a:gd name="connsiteX3" fmla="*/ 453312 w 454025"/>
                  <a:gd name="connsiteY3" fmla="*/ 626472 h 646113"/>
                  <a:gd name="connsiteX4" fmla="*/ 454025 w 454025"/>
                  <a:gd name="connsiteY4" fmla="*/ 631382 h 646113"/>
                  <a:gd name="connsiteX5" fmla="*/ 454025 w 454025"/>
                  <a:gd name="connsiteY5" fmla="*/ 632785 h 646113"/>
                  <a:gd name="connsiteX6" fmla="*/ 444047 w 454025"/>
                  <a:gd name="connsiteY6" fmla="*/ 645412 h 646113"/>
                  <a:gd name="connsiteX7" fmla="*/ 442621 w 454025"/>
                  <a:gd name="connsiteY7" fmla="*/ 646113 h 646113"/>
                  <a:gd name="connsiteX8" fmla="*/ 441908 w 454025"/>
                  <a:gd name="connsiteY8" fmla="*/ 646113 h 646113"/>
                  <a:gd name="connsiteX9" fmla="*/ 439057 w 454025"/>
                  <a:gd name="connsiteY9" fmla="*/ 646113 h 646113"/>
                  <a:gd name="connsiteX10" fmla="*/ 15681 w 454025"/>
                  <a:gd name="connsiteY10" fmla="*/ 646113 h 646113"/>
                  <a:gd name="connsiteX11" fmla="*/ 14968 w 454025"/>
                  <a:gd name="connsiteY11" fmla="*/ 646113 h 646113"/>
                  <a:gd name="connsiteX12" fmla="*/ 0 w 454025"/>
                  <a:gd name="connsiteY12" fmla="*/ 631382 h 646113"/>
                  <a:gd name="connsiteX13" fmla="*/ 15681 w 454025"/>
                  <a:gd name="connsiteY13" fmla="*/ 615950 h 646113"/>
                  <a:gd name="connsiteX14" fmla="*/ 15681 w 454025"/>
                  <a:gd name="connsiteY14" fmla="*/ 512762 h 646113"/>
                  <a:gd name="connsiteX15" fmla="*/ 90520 w 454025"/>
                  <a:gd name="connsiteY15" fmla="*/ 512762 h 646113"/>
                  <a:gd name="connsiteX16" fmla="*/ 106201 w 454025"/>
                  <a:gd name="connsiteY16" fmla="*/ 512762 h 646113"/>
                  <a:gd name="connsiteX17" fmla="*/ 121881 w 454025"/>
                  <a:gd name="connsiteY17" fmla="*/ 512762 h 646113"/>
                  <a:gd name="connsiteX18" fmla="*/ 439057 w 454025"/>
                  <a:gd name="connsiteY18" fmla="*/ 512762 h 646113"/>
                  <a:gd name="connsiteX19" fmla="*/ 454025 w 454025"/>
                  <a:gd name="connsiteY19" fmla="*/ 528637 h 646113"/>
                  <a:gd name="connsiteX20" fmla="*/ 454025 w 454025"/>
                  <a:gd name="connsiteY20" fmla="*/ 531523 h 646113"/>
                  <a:gd name="connsiteX21" fmla="*/ 453312 w 454025"/>
                  <a:gd name="connsiteY21" fmla="*/ 532967 h 646113"/>
                  <a:gd name="connsiteX22" fmla="*/ 453312 w 454025"/>
                  <a:gd name="connsiteY22" fmla="*/ 533688 h 646113"/>
                  <a:gd name="connsiteX23" fmla="*/ 444047 w 454025"/>
                  <a:gd name="connsiteY23" fmla="*/ 543791 h 646113"/>
                  <a:gd name="connsiteX24" fmla="*/ 443334 w 454025"/>
                  <a:gd name="connsiteY24" fmla="*/ 543791 h 646113"/>
                  <a:gd name="connsiteX25" fmla="*/ 441908 w 454025"/>
                  <a:gd name="connsiteY25" fmla="*/ 544512 h 646113"/>
                  <a:gd name="connsiteX26" fmla="*/ 439057 w 454025"/>
                  <a:gd name="connsiteY26" fmla="*/ 544512 h 646113"/>
                  <a:gd name="connsiteX27" fmla="*/ 121881 w 454025"/>
                  <a:gd name="connsiteY27" fmla="*/ 544512 h 646113"/>
                  <a:gd name="connsiteX28" fmla="*/ 106201 w 454025"/>
                  <a:gd name="connsiteY28" fmla="*/ 544512 h 646113"/>
                  <a:gd name="connsiteX29" fmla="*/ 90520 w 454025"/>
                  <a:gd name="connsiteY29" fmla="*/ 544512 h 646113"/>
                  <a:gd name="connsiteX30" fmla="*/ 15681 w 454025"/>
                  <a:gd name="connsiteY30" fmla="*/ 544512 h 646113"/>
                  <a:gd name="connsiteX31" fmla="*/ 0 w 454025"/>
                  <a:gd name="connsiteY31" fmla="*/ 528637 h 646113"/>
                  <a:gd name="connsiteX32" fmla="*/ 15681 w 454025"/>
                  <a:gd name="connsiteY32" fmla="*/ 512762 h 646113"/>
                  <a:gd name="connsiteX33" fmla="*/ 15681 w 454025"/>
                  <a:gd name="connsiteY33" fmla="*/ 411162 h 646113"/>
                  <a:gd name="connsiteX34" fmla="*/ 90520 w 454025"/>
                  <a:gd name="connsiteY34" fmla="*/ 411162 h 646113"/>
                  <a:gd name="connsiteX35" fmla="*/ 106201 w 454025"/>
                  <a:gd name="connsiteY35" fmla="*/ 411162 h 646113"/>
                  <a:gd name="connsiteX36" fmla="*/ 121881 w 454025"/>
                  <a:gd name="connsiteY36" fmla="*/ 411162 h 646113"/>
                  <a:gd name="connsiteX37" fmla="*/ 439057 w 454025"/>
                  <a:gd name="connsiteY37" fmla="*/ 411162 h 646113"/>
                  <a:gd name="connsiteX38" fmla="*/ 454025 w 454025"/>
                  <a:gd name="connsiteY38" fmla="*/ 426594 h 646113"/>
                  <a:gd name="connsiteX39" fmla="*/ 439057 w 454025"/>
                  <a:gd name="connsiteY39" fmla="*/ 441325 h 646113"/>
                  <a:gd name="connsiteX40" fmla="*/ 121881 w 454025"/>
                  <a:gd name="connsiteY40" fmla="*/ 441325 h 646113"/>
                  <a:gd name="connsiteX41" fmla="*/ 106201 w 454025"/>
                  <a:gd name="connsiteY41" fmla="*/ 441325 h 646113"/>
                  <a:gd name="connsiteX42" fmla="*/ 90520 w 454025"/>
                  <a:gd name="connsiteY42" fmla="*/ 441325 h 646113"/>
                  <a:gd name="connsiteX43" fmla="*/ 15681 w 454025"/>
                  <a:gd name="connsiteY43" fmla="*/ 441325 h 646113"/>
                  <a:gd name="connsiteX44" fmla="*/ 0 w 454025"/>
                  <a:gd name="connsiteY44" fmla="*/ 426594 h 646113"/>
                  <a:gd name="connsiteX45" fmla="*/ 15681 w 454025"/>
                  <a:gd name="connsiteY45" fmla="*/ 411162 h 646113"/>
                  <a:gd name="connsiteX46" fmla="*/ 15681 w 454025"/>
                  <a:gd name="connsiteY46" fmla="*/ 307975 h 646113"/>
                  <a:gd name="connsiteX47" fmla="*/ 90520 w 454025"/>
                  <a:gd name="connsiteY47" fmla="*/ 307975 h 646113"/>
                  <a:gd name="connsiteX48" fmla="*/ 106201 w 454025"/>
                  <a:gd name="connsiteY48" fmla="*/ 307975 h 646113"/>
                  <a:gd name="connsiteX49" fmla="*/ 121881 w 454025"/>
                  <a:gd name="connsiteY49" fmla="*/ 307975 h 646113"/>
                  <a:gd name="connsiteX50" fmla="*/ 439057 w 454025"/>
                  <a:gd name="connsiteY50" fmla="*/ 307975 h 646113"/>
                  <a:gd name="connsiteX51" fmla="*/ 454025 w 454025"/>
                  <a:gd name="connsiteY51" fmla="*/ 323057 h 646113"/>
                  <a:gd name="connsiteX52" fmla="*/ 439057 w 454025"/>
                  <a:gd name="connsiteY52" fmla="*/ 338138 h 646113"/>
                  <a:gd name="connsiteX53" fmla="*/ 121881 w 454025"/>
                  <a:gd name="connsiteY53" fmla="*/ 338138 h 646113"/>
                  <a:gd name="connsiteX54" fmla="*/ 106201 w 454025"/>
                  <a:gd name="connsiteY54" fmla="*/ 338138 h 646113"/>
                  <a:gd name="connsiteX55" fmla="*/ 90520 w 454025"/>
                  <a:gd name="connsiteY55" fmla="*/ 338138 h 646113"/>
                  <a:gd name="connsiteX56" fmla="*/ 15681 w 454025"/>
                  <a:gd name="connsiteY56" fmla="*/ 338138 h 646113"/>
                  <a:gd name="connsiteX57" fmla="*/ 0 w 454025"/>
                  <a:gd name="connsiteY57" fmla="*/ 323057 h 646113"/>
                  <a:gd name="connsiteX58" fmla="*/ 15681 w 454025"/>
                  <a:gd name="connsiteY58" fmla="*/ 307975 h 646113"/>
                  <a:gd name="connsiteX59" fmla="*/ 15681 w 454025"/>
                  <a:gd name="connsiteY59" fmla="*/ 204787 h 646113"/>
                  <a:gd name="connsiteX60" fmla="*/ 90520 w 454025"/>
                  <a:gd name="connsiteY60" fmla="*/ 204787 h 646113"/>
                  <a:gd name="connsiteX61" fmla="*/ 106201 w 454025"/>
                  <a:gd name="connsiteY61" fmla="*/ 204787 h 646113"/>
                  <a:gd name="connsiteX62" fmla="*/ 121881 w 454025"/>
                  <a:gd name="connsiteY62" fmla="*/ 204787 h 646113"/>
                  <a:gd name="connsiteX63" fmla="*/ 439057 w 454025"/>
                  <a:gd name="connsiteY63" fmla="*/ 204787 h 646113"/>
                  <a:gd name="connsiteX64" fmla="*/ 454025 w 454025"/>
                  <a:gd name="connsiteY64" fmla="*/ 220219 h 646113"/>
                  <a:gd name="connsiteX65" fmla="*/ 439057 w 454025"/>
                  <a:gd name="connsiteY65" fmla="*/ 234950 h 646113"/>
                  <a:gd name="connsiteX66" fmla="*/ 121881 w 454025"/>
                  <a:gd name="connsiteY66" fmla="*/ 234950 h 646113"/>
                  <a:gd name="connsiteX67" fmla="*/ 106201 w 454025"/>
                  <a:gd name="connsiteY67" fmla="*/ 234950 h 646113"/>
                  <a:gd name="connsiteX68" fmla="*/ 90520 w 454025"/>
                  <a:gd name="connsiteY68" fmla="*/ 234950 h 646113"/>
                  <a:gd name="connsiteX69" fmla="*/ 15681 w 454025"/>
                  <a:gd name="connsiteY69" fmla="*/ 234950 h 646113"/>
                  <a:gd name="connsiteX70" fmla="*/ 0 w 454025"/>
                  <a:gd name="connsiteY70" fmla="*/ 220219 h 646113"/>
                  <a:gd name="connsiteX71" fmla="*/ 15681 w 454025"/>
                  <a:gd name="connsiteY71" fmla="*/ 204787 h 646113"/>
                  <a:gd name="connsiteX72" fmla="*/ 15681 w 454025"/>
                  <a:gd name="connsiteY72" fmla="*/ 101600 h 646113"/>
                  <a:gd name="connsiteX73" fmla="*/ 90520 w 454025"/>
                  <a:gd name="connsiteY73" fmla="*/ 101600 h 646113"/>
                  <a:gd name="connsiteX74" fmla="*/ 106201 w 454025"/>
                  <a:gd name="connsiteY74" fmla="*/ 101600 h 646113"/>
                  <a:gd name="connsiteX75" fmla="*/ 121881 w 454025"/>
                  <a:gd name="connsiteY75" fmla="*/ 101600 h 646113"/>
                  <a:gd name="connsiteX76" fmla="*/ 439057 w 454025"/>
                  <a:gd name="connsiteY76" fmla="*/ 101600 h 646113"/>
                  <a:gd name="connsiteX77" fmla="*/ 454025 w 454025"/>
                  <a:gd name="connsiteY77" fmla="*/ 117475 h 646113"/>
                  <a:gd name="connsiteX78" fmla="*/ 439057 w 454025"/>
                  <a:gd name="connsiteY78" fmla="*/ 133350 h 646113"/>
                  <a:gd name="connsiteX79" fmla="*/ 121881 w 454025"/>
                  <a:gd name="connsiteY79" fmla="*/ 133350 h 646113"/>
                  <a:gd name="connsiteX80" fmla="*/ 106201 w 454025"/>
                  <a:gd name="connsiteY80" fmla="*/ 133350 h 646113"/>
                  <a:gd name="connsiteX81" fmla="*/ 90520 w 454025"/>
                  <a:gd name="connsiteY81" fmla="*/ 133350 h 646113"/>
                  <a:gd name="connsiteX82" fmla="*/ 15681 w 454025"/>
                  <a:gd name="connsiteY82" fmla="*/ 133350 h 646113"/>
                  <a:gd name="connsiteX83" fmla="*/ 0 w 454025"/>
                  <a:gd name="connsiteY83" fmla="*/ 117475 h 646113"/>
                  <a:gd name="connsiteX84" fmla="*/ 15681 w 454025"/>
                  <a:gd name="connsiteY84" fmla="*/ 101600 h 646113"/>
                  <a:gd name="connsiteX85" fmla="*/ 15681 w 454025"/>
                  <a:gd name="connsiteY85" fmla="*/ 0 h 646113"/>
                  <a:gd name="connsiteX86" fmla="*/ 90520 w 454025"/>
                  <a:gd name="connsiteY86" fmla="*/ 0 h 646113"/>
                  <a:gd name="connsiteX87" fmla="*/ 106201 w 454025"/>
                  <a:gd name="connsiteY87" fmla="*/ 0 h 646113"/>
                  <a:gd name="connsiteX88" fmla="*/ 121881 w 454025"/>
                  <a:gd name="connsiteY88" fmla="*/ 0 h 646113"/>
                  <a:gd name="connsiteX89" fmla="*/ 439057 w 454025"/>
                  <a:gd name="connsiteY89" fmla="*/ 0 h 646113"/>
                  <a:gd name="connsiteX90" fmla="*/ 454025 w 454025"/>
                  <a:gd name="connsiteY90" fmla="*/ 15432 h 646113"/>
                  <a:gd name="connsiteX91" fmla="*/ 439057 w 454025"/>
                  <a:gd name="connsiteY91" fmla="*/ 30163 h 646113"/>
                  <a:gd name="connsiteX92" fmla="*/ 121881 w 454025"/>
                  <a:gd name="connsiteY92" fmla="*/ 30163 h 646113"/>
                  <a:gd name="connsiteX93" fmla="*/ 106201 w 454025"/>
                  <a:gd name="connsiteY93" fmla="*/ 30163 h 646113"/>
                  <a:gd name="connsiteX94" fmla="*/ 90520 w 454025"/>
                  <a:gd name="connsiteY94" fmla="*/ 30163 h 646113"/>
                  <a:gd name="connsiteX95" fmla="*/ 15681 w 454025"/>
                  <a:gd name="connsiteY95" fmla="*/ 30163 h 646113"/>
                  <a:gd name="connsiteX96" fmla="*/ 0 w 454025"/>
                  <a:gd name="connsiteY96" fmla="*/ 15432 h 646113"/>
                  <a:gd name="connsiteX97" fmla="*/ 15681 w 454025"/>
                  <a:gd name="connsiteY97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454025" h="646113">
                    <a:moveTo>
                      <a:pt x="15681" y="615950"/>
                    </a:moveTo>
                    <a:cubicBezTo>
                      <a:pt x="42766" y="615950"/>
                      <a:pt x="67712" y="615950"/>
                      <a:pt x="91233" y="615950"/>
                    </a:cubicBezTo>
                    <a:cubicBezTo>
                      <a:pt x="439057" y="615950"/>
                      <a:pt x="439057" y="615950"/>
                      <a:pt x="439057" y="615950"/>
                    </a:cubicBezTo>
                    <a:cubicBezTo>
                      <a:pt x="446185" y="615950"/>
                      <a:pt x="451887" y="620159"/>
                      <a:pt x="453312" y="626472"/>
                    </a:cubicBezTo>
                    <a:cubicBezTo>
                      <a:pt x="454025" y="627875"/>
                      <a:pt x="454025" y="629278"/>
                      <a:pt x="454025" y="631382"/>
                    </a:cubicBezTo>
                    <a:cubicBezTo>
                      <a:pt x="454025" y="632084"/>
                      <a:pt x="454025" y="632084"/>
                      <a:pt x="454025" y="632785"/>
                    </a:cubicBezTo>
                    <a:cubicBezTo>
                      <a:pt x="453312" y="638397"/>
                      <a:pt x="449749" y="643307"/>
                      <a:pt x="444047" y="645412"/>
                    </a:cubicBezTo>
                    <a:cubicBezTo>
                      <a:pt x="444047" y="645412"/>
                      <a:pt x="443334" y="646113"/>
                      <a:pt x="442621" y="646113"/>
                    </a:cubicBezTo>
                    <a:cubicBezTo>
                      <a:pt x="442621" y="646113"/>
                      <a:pt x="441908" y="646113"/>
                      <a:pt x="441908" y="646113"/>
                    </a:cubicBezTo>
                    <a:cubicBezTo>
                      <a:pt x="441196" y="646113"/>
                      <a:pt x="439770" y="646113"/>
                      <a:pt x="439057" y="646113"/>
                    </a:cubicBezTo>
                    <a:cubicBezTo>
                      <a:pt x="15681" y="646113"/>
                      <a:pt x="15681" y="646113"/>
                      <a:pt x="15681" y="646113"/>
                    </a:cubicBezTo>
                    <a:cubicBezTo>
                      <a:pt x="15681" y="646113"/>
                      <a:pt x="14968" y="646113"/>
                      <a:pt x="14968" y="646113"/>
                    </a:cubicBezTo>
                    <a:cubicBezTo>
                      <a:pt x="7128" y="646113"/>
                      <a:pt x="713" y="639800"/>
                      <a:pt x="0" y="631382"/>
                    </a:cubicBezTo>
                    <a:cubicBezTo>
                      <a:pt x="0" y="622965"/>
                      <a:pt x="7128" y="615950"/>
                      <a:pt x="15681" y="615950"/>
                    </a:cubicBezTo>
                    <a:close/>
                    <a:moveTo>
                      <a:pt x="15681" y="512762"/>
                    </a:moveTo>
                    <a:cubicBezTo>
                      <a:pt x="42053" y="512762"/>
                      <a:pt x="67712" y="512762"/>
                      <a:pt x="90520" y="512762"/>
                    </a:cubicBezTo>
                    <a:cubicBezTo>
                      <a:pt x="96222" y="512762"/>
                      <a:pt x="101211" y="512762"/>
                      <a:pt x="106201" y="512762"/>
                    </a:cubicBezTo>
                    <a:cubicBezTo>
                      <a:pt x="111903" y="512762"/>
                      <a:pt x="116892" y="512762"/>
                      <a:pt x="121881" y="512762"/>
                    </a:cubicBezTo>
                    <a:cubicBezTo>
                      <a:pt x="439057" y="512762"/>
                      <a:pt x="439057" y="512762"/>
                      <a:pt x="439057" y="512762"/>
                    </a:cubicBezTo>
                    <a:cubicBezTo>
                      <a:pt x="447610" y="512762"/>
                      <a:pt x="454025" y="519978"/>
                      <a:pt x="454025" y="528637"/>
                    </a:cubicBezTo>
                    <a:cubicBezTo>
                      <a:pt x="454025" y="530080"/>
                      <a:pt x="454025" y="530802"/>
                      <a:pt x="454025" y="531523"/>
                    </a:cubicBezTo>
                    <a:cubicBezTo>
                      <a:pt x="454025" y="532245"/>
                      <a:pt x="454025" y="532967"/>
                      <a:pt x="453312" y="532967"/>
                    </a:cubicBezTo>
                    <a:cubicBezTo>
                      <a:pt x="453312" y="533688"/>
                      <a:pt x="453312" y="533688"/>
                      <a:pt x="453312" y="533688"/>
                    </a:cubicBezTo>
                    <a:cubicBezTo>
                      <a:pt x="451887" y="538739"/>
                      <a:pt x="449036" y="542347"/>
                      <a:pt x="444047" y="543791"/>
                    </a:cubicBezTo>
                    <a:cubicBezTo>
                      <a:pt x="443334" y="543791"/>
                      <a:pt x="443334" y="543791"/>
                      <a:pt x="443334" y="543791"/>
                    </a:cubicBezTo>
                    <a:cubicBezTo>
                      <a:pt x="442621" y="543791"/>
                      <a:pt x="441908" y="543791"/>
                      <a:pt x="441908" y="544512"/>
                    </a:cubicBezTo>
                    <a:cubicBezTo>
                      <a:pt x="440483" y="544512"/>
                      <a:pt x="439770" y="544512"/>
                      <a:pt x="439057" y="544512"/>
                    </a:cubicBezTo>
                    <a:cubicBezTo>
                      <a:pt x="282964" y="544512"/>
                      <a:pt x="184604" y="544512"/>
                      <a:pt x="121881" y="544512"/>
                    </a:cubicBezTo>
                    <a:cubicBezTo>
                      <a:pt x="116892" y="544512"/>
                      <a:pt x="111190" y="544512"/>
                      <a:pt x="106201" y="544512"/>
                    </a:cubicBezTo>
                    <a:cubicBezTo>
                      <a:pt x="101211" y="544512"/>
                      <a:pt x="95509" y="544512"/>
                      <a:pt x="90520" y="544512"/>
                    </a:cubicBezTo>
                    <a:cubicBezTo>
                      <a:pt x="15681" y="544512"/>
                      <a:pt x="15681" y="544512"/>
                      <a:pt x="15681" y="544512"/>
                    </a:cubicBezTo>
                    <a:cubicBezTo>
                      <a:pt x="7128" y="544512"/>
                      <a:pt x="0" y="538018"/>
                      <a:pt x="0" y="528637"/>
                    </a:cubicBezTo>
                    <a:cubicBezTo>
                      <a:pt x="0" y="519978"/>
                      <a:pt x="7128" y="512762"/>
                      <a:pt x="15681" y="512762"/>
                    </a:cubicBezTo>
                    <a:close/>
                    <a:moveTo>
                      <a:pt x="15681" y="411162"/>
                    </a:moveTo>
                    <a:cubicBezTo>
                      <a:pt x="42053" y="411162"/>
                      <a:pt x="67712" y="411162"/>
                      <a:pt x="90520" y="411162"/>
                    </a:cubicBezTo>
                    <a:cubicBezTo>
                      <a:pt x="96222" y="411162"/>
                      <a:pt x="101211" y="411162"/>
                      <a:pt x="106201" y="411162"/>
                    </a:cubicBezTo>
                    <a:cubicBezTo>
                      <a:pt x="111903" y="411162"/>
                      <a:pt x="116892" y="411162"/>
                      <a:pt x="121881" y="411162"/>
                    </a:cubicBezTo>
                    <a:cubicBezTo>
                      <a:pt x="439057" y="411162"/>
                      <a:pt x="439057" y="411162"/>
                      <a:pt x="439057" y="411162"/>
                    </a:cubicBezTo>
                    <a:cubicBezTo>
                      <a:pt x="447610" y="411162"/>
                      <a:pt x="454025" y="418177"/>
                      <a:pt x="454025" y="426594"/>
                    </a:cubicBezTo>
                    <a:cubicBezTo>
                      <a:pt x="454025" y="435012"/>
                      <a:pt x="447610" y="441325"/>
                      <a:pt x="439057" y="441325"/>
                    </a:cubicBezTo>
                    <a:cubicBezTo>
                      <a:pt x="282964" y="441325"/>
                      <a:pt x="184604" y="441325"/>
                      <a:pt x="121881" y="441325"/>
                    </a:cubicBezTo>
                    <a:cubicBezTo>
                      <a:pt x="116892" y="441325"/>
                      <a:pt x="111190" y="441325"/>
                      <a:pt x="106201" y="441325"/>
                    </a:cubicBezTo>
                    <a:cubicBezTo>
                      <a:pt x="101211" y="441325"/>
                      <a:pt x="95509" y="441325"/>
                      <a:pt x="90520" y="441325"/>
                    </a:cubicBezTo>
                    <a:cubicBezTo>
                      <a:pt x="15681" y="441325"/>
                      <a:pt x="15681" y="441325"/>
                      <a:pt x="15681" y="441325"/>
                    </a:cubicBezTo>
                    <a:cubicBezTo>
                      <a:pt x="7128" y="441325"/>
                      <a:pt x="0" y="435012"/>
                      <a:pt x="0" y="426594"/>
                    </a:cubicBezTo>
                    <a:cubicBezTo>
                      <a:pt x="0" y="418177"/>
                      <a:pt x="7128" y="411162"/>
                      <a:pt x="15681" y="411162"/>
                    </a:cubicBezTo>
                    <a:close/>
                    <a:moveTo>
                      <a:pt x="15681" y="307975"/>
                    </a:moveTo>
                    <a:cubicBezTo>
                      <a:pt x="42053" y="307975"/>
                      <a:pt x="67712" y="307975"/>
                      <a:pt x="90520" y="307975"/>
                    </a:cubicBezTo>
                    <a:cubicBezTo>
                      <a:pt x="96222" y="307975"/>
                      <a:pt x="101211" y="307975"/>
                      <a:pt x="106201" y="307975"/>
                    </a:cubicBezTo>
                    <a:cubicBezTo>
                      <a:pt x="111903" y="307975"/>
                      <a:pt x="116892" y="307975"/>
                      <a:pt x="121881" y="307975"/>
                    </a:cubicBezTo>
                    <a:cubicBezTo>
                      <a:pt x="439057" y="307975"/>
                      <a:pt x="439057" y="307975"/>
                      <a:pt x="439057" y="307975"/>
                    </a:cubicBezTo>
                    <a:cubicBezTo>
                      <a:pt x="447610" y="307975"/>
                      <a:pt x="454025" y="315157"/>
                      <a:pt x="454025" y="323057"/>
                    </a:cubicBezTo>
                    <a:cubicBezTo>
                      <a:pt x="454025" y="330956"/>
                      <a:pt x="447610" y="338138"/>
                      <a:pt x="439057" y="338138"/>
                    </a:cubicBezTo>
                    <a:cubicBezTo>
                      <a:pt x="282964" y="338138"/>
                      <a:pt x="184604" y="338138"/>
                      <a:pt x="121881" y="338138"/>
                    </a:cubicBezTo>
                    <a:cubicBezTo>
                      <a:pt x="116892" y="338138"/>
                      <a:pt x="111190" y="338138"/>
                      <a:pt x="106201" y="338138"/>
                    </a:cubicBezTo>
                    <a:cubicBezTo>
                      <a:pt x="101211" y="338138"/>
                      <a:pt x="95509" y="338138"/>
                      <a:pt x="90520" y="338138"/>
                    </a:cubicBezTo>
                    <a:cubicBezTo>
                      <a:pt x="15681" y="338138"/>
                      <a:pt x="15681" y="338138"/>
                      <a:pt x="15681" y="338138"/>
                    </a:cubicBezTo>
                    <a:cubicBezTo>
                      <a:pt x="7128" y="338138"/>
                      <a:pt x="0" y="330956"/>
                      <a:pt x="0" y="323057"/>
                    </a:cubicBezTo>
                    <a:cubicBezTo>
                      <a:pt x="0" y="315157"/>
                      <a:pt x="7128" y="307975"/>
                      <a:pt x="15681" y="307975"/>
                    </a:cubicBezTo>
                    <a:close/>
                    <a:moveTo>
                      <a:pt x="15681" y="204787"/>
                    </a:moveTo>
                    <a:cubicBezTo>
                      <a:pt x="42053" y="204787"/>
                      <a:pt x="67712" y="204787"/>
                      <a:pt x="90520" y="204787"/>
                    </a:cubicBezTo>
                    <a:cubicBezTo>
                      <a:pt x="96222" y="204787"/>
                      <a:pt x="101211" y="204787"/>
                      <a:pt x="106201" y="204787"/>
                    </a:cubicBezTo>
                    <a:cubicBezTo>
                      <a:pt x="111903" y="204787"/>
                      <a:pt x="116892" y="204787"/>
                      <a:pt x="121881" y="204787"/>
                    </a:cubicBezTo>
                    <a:cubicBezTo>
                      <a:pt x="439057" y="204787"/>
                      <a:pt x="439057" y="204787"/>
                      <a:pt x="439057" y="204787"/>
                    </a:cubicBezTo>
                    <a:cubicBezTo>
                      <a:pt x="447610" y="204787"/>
                      <a:pt x="454025" y="211802"/>
                      <a:pt x="454025" y="220219"/>
                    </a:cubicBezTo>
                    <a:cubicBezTo>
                      <a:pt x="454025" y="227935"/>
                      <a:pt x="447610" y="234950"/>
                      <a:pt x="439057" y="234950"/>
                    </a:cubicBezTo>
                    <a:cubicBezTo>
                      <a:pt x="282964" y="234950"/>
                      <a:pt x="184604" y="234950"/>
                      <a:pt x="121881" y="234950"/>
                    </a:cubicBezTo>
                    <a:cubicBezTo>
                      <a:pt x="116892" y="234950"/>
                      <a:pt x="111190" y="234950"/>
                      <a:pt x="106201" y="234950"/>
                    </a:cubicBezTo>
                    <a:cubicBezTo>
                      <a:pt x="101211" y="234950"/>
                      <a:pt x="95509" y="234950"/>
                      <a:pt x="90520" y="234950"/>
                    </a:cubicBezTo>
                    <a:cubicBezTo>
                      <a:pt x="15681" y="234950"/>
                      <a:pt x="15681" y="234950"/>
                      <a:pt x="15681" y="234950"/>
                    </a:cubicBezTo>
                    <a:cubicBezTo>
                      <a:pt x="7128" y="234950"/>
                      <a:pt x="0" y="227935"/>
                      <a:pt x="0" y="220219"/>
                    </a:cubicBezTo>
                    <a:cubicBezTo>
                      <a:pt x="0" y="211802"/>
                      <a:pt x="7128" y="204787"/>
                      <a:pt x="15681" y="204787"/>
                    </a:cubicBezTo>
                    <a:close/>
                    <a:moveTo>
                      <a:pt x="15681" y="101600"/>
                    </a:moveTo>
                    <a:cubicBezTo>
                      <a:pt x="42053" y="101600"/>
                      <a:pt x="67712" y="101600"/>
                      <a:pt x="90520" y="101600"/>
                    </a:cubicBezTo>
                    <a:cubicBezTo>
                      <a:pt x="96222" y="101600"/>
                      <a:pt x="101211" y="101600"/>
                      <a:pt x="106201" y="101600"/>
                    </a:cubicBezTo>
                    <a:cubicBezTo>
                      <a:pt x="111903" y="101600"/>
                      <a:pt x="116892" y="101600"/>
                      <a:pt x="121881" y="101600"/>
                    </a:cubicBezTo>
                    <a:cubicBezTo>
                      <a:pt x="439057" y="101600"/>
                      <a:pt x="439057" y="101600"/>
                      <a:pt x="439057" y="101600"/>
                    </a:cubicBezTo>
                    <a:cubicBezTo>
                      <a:pt x="447610" y="101600"/>
                      <a:pt x="454025" y="108816"/>
                      <a:pt x="454025" y="117475"/>
                    </a:cubicBezTo>
                    <a:cubicBezTo>
                      <a:pt x="454025" y="126134"/>
                      <a:pt x="447610" y="133350"/>
                      <a:pt x="439057" y="133350"/>
                    </a:cubicBezTo>
                    <a:cubicBezTo>
                      <a:pt x="282964" y="133350"/>
                      <a:pt x="184604" y="133350"/>
                      <a:pt x="121881" y="133350"/>
                    </a:cubicBezTo>
                    <a:cubicBezTo>
                      <a:pt x="116892" y="133350"/>
                      <a:pt x="111190" y="133350"/>
                      <a:pt x="106201" y="133350"/>
                    </a:cubicBezTo>
                    <a:cubicBezTo>
                      <a:pt x="101211" y="133350"/>
                      <a:pt x="95509" y="133350"/>
                      <a:pt x="90520" y="133350"/>
                    </a:cubicBezTo>
                    <a:cubicBezTo>
                      <a:pt x="15681" y="133350"/>
                      <a:pt x="15681" y="133350"/>
                      <a:pt x="15681" y="133350"/>
                    </a:cubicBezTo>
                    <a:cubicBezTo>
                      <a:pt x="7128" y="133350"/>
                      <a:pt x="0" y="126134"/>
                      <a:pt x="0" y="117475"/>
                    </a:cubicBezTo>
                    <a:cubicBezTo>
                      <a:pt x="0" y="108816"/>
                      <a:pt x="7128" y="101600"/>
                      <a:pt x="15681" y="101600"/>
                    </a:cubicBezTo>
                    <a:close/>
                    <a:moveTo>
                      <a:pt x="15681" y="0"/>
                    </a:moveTo>
                    <a:cubicBezTo>
                      <a:pt x="42053" y="0"/>
                      <a:pt x="67712" y="0"/>
                      <a:pt x="90520" y="0"/>
                    </a:cubicBezTo>
                    <a:cubicBezTo>
                      <a:pt x="96222" y="0"/>
                      <a:pt x="101211" y="0"/>
                      <a:pt x="106201" y="0"/>
                    </a:cubicBezTo>
                    <a:cubicBezTo>
                      <a:pt x="111903" y="0"/>
                      <a:pt x="116892" y="0"/>
                      <a:pt x="121881" y="0"/>
                    </a:cubicBezTo>
                    <a:cubicBezTo>
                      <a:pt x="439057" y="0"/>
                      <a:pt x="439057" y="0"/>
                      <a:pt x="439057" y="0"/>
                    </a:cubicBezTo>
                    <a:cubicBezTo>
                      <a:pt x="447610" y="0"/>
                      <a:pt x="454025" y="6313"/>
                      <a:pt x="454025" y="15432"/>
                    </a:cubicBezTo>
                    <a:cubicBezTo>
                      <a:pt x="454025" y="23148"/>
                      <a:pt x="447610" y="30163"/>
                      <a:pt x="439057" y="30163"/>
                    </a:cubicBezTo>
                    <a:cubicBezTo>
                      <a:pt x="282964" y="30163"/>
                      <a:pt x="184604" y="30163"/>
                      <a:pt x="121881" y="30163"/>
                    </a:cubicBezTo>
                    <a:cubicBezTo>
                      <a:pt x="116892" y="30163"/>
                      <a:pt x="111190" y="30163"/>
                      <a:pt x="106201" y="30163"/>
                    </a:cubicBezTo>
                    <a:cubicBezTo>
                      <a:pt x="101211" y="30163"/>
                      <a:pt x="95509" y="30163"/>
                      <a:pt x="90520" y="30163"/>
                    </a:cubicBezTo>
                    <a:cubicBezTo>
                      <a:pt x="15681" y="30163"/>
                      <a:pt x="15681" y="30163"/>
                      <a:pt x="15681" y="30163"/>
                    </a:cubicBezTo>
                    <a:cubicBezTo>
                      <a:pt x="7128" y="30163"/>
                      <a:pt x="0" y="23148"/>
                      <a:pt x="0" y="15432"/>
                    </a:cubicBezTo>
                    <a:cubicBezTo>
                      <a:pt x="0" y="6313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23764E05-DD9B-4598-B90B-FE972D792030}"/>
              </a:ext>
            </a:extLst>
          </p:cNvPr>
          <p:cNvCxnSpPr/>
          <p:nvPr/>
        </p:nvCxnSpPr>
        <p:spPr>
          <a:xfrm>
            <a:off x="3468028" y="3530673"/>
            <a:ext cx="8435494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8EB23A2-6F3D-48BA-AD7C-4151EFA02F28}"/>
              </a:ext>
            </a:extLst>
          </p:cNvPr>
          <p:cNvCxnSpPr/>
          <p:nvPr/>
        </p:nvCxnSpPr>
        <p:spPr>
          <a:xfrm>
            <a:off x="3468028" y="2184111"/>
            <a:ext cx="8435494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ee4pFootnotes">
            <a:extLst>
              <a:ext uri="{FF2B5EF4-FFF2-40B4-BE49-F238E27FC236}">
                <a16:creationId xmlns:a16="http://schemas.microsoft.com/office/drawing/2014/main" id="{F1EEA3A7-2754-4DA3-A586-8A11F41AD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478" y="6580031"/>
            <a:ext cx="11615045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s-NI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Fuentes: DHS CISA; Recomendaciones interinas para la distribución de vacunas contra el COVID-19 del Comité Consultivo sobre prácticas de inmunización, Estados Unidos, Diciembre 2020</a:t>
            </a:r>
          </a:p>
        </p:txBody>
      </p:sp>
    </p:spTree>
    <p:extLst>
      <p:ext uri="{BB962C8B-B14F-4D97-AF65-F5344CB8AC3E}">
        <p14:creationId xmlns:p14="http://schemas.microsoft.com/office/powerpoint/2010/main" val="408920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88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C74C-AE5C-42D9-83A5-811610910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478" y="389221"/>
            <a:ext cx="11615045" cy="6647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Fase 2 | </a:t>
            </a:r>
            <a:r>
              <a:rPr lang="en-US" dirty="0" err="1"/>
              <a:t>Trabajadores</a:t>
            </a:r>
            <a:r>
              <a:rPr lang="en-US" dirty="0"/>
              <a:t> </a:t>
            </a:r>
            <a:r>
              <a:rPr lang="en-US" dirty="0" err="1"/>
              <a:t>esenciales</a:t>
            </a:r>
            <a:r>
              <a:rPr lang="en-US" dirty="0"/>
              <a:t> de alto </a:t>
            </a:r>
            <a:r>
              <a:rPr lang="en-US" dirty="0" err="1"/>
              <a:t>nivel</a:t>
            </a:r>
            <a:r>
              <a:rPr lang="en-US" dirty="0"/>
              <a:t> de contacto</a:t>
            </a:r>
            <a:r>
              <a:rPr lang="en-US" baseline="30000" dirty="0"/>
              <a:t>1</a:t>
            </a:r>
            <a:r>
              <a:rPr lang="en-US" dirty="0"/>
              <a:t>: </a:t>
            </a:r>
            <a:r>
              <a:rPr lang="en-US" dirty="0" err="1"/>
              <a:t>Identificando</a:t>
            </a:r>
            <a:r>
              <a:rPr lang="en-US" dirty="0"/>
              <a:t> </a:t>
            </a:r>
            <a:r>
              <a:rPr lang="en-US" dirty="0" err="1"/>
              <a:t>las</a:t>
            </a:r>
            <a:r>
              <a:rPr lang="en-US" dirty="0"/>
              <a:t> </a:t>
            </a:r>
            <a:r>
              <a:rPr lang="en-US" dirty="0" err="1"/>
              <a:t>características</a:t>
            </a:r>
            <a:r>
              <a:rPr lang="en-US" dirty="0"/>
              <a:t> y </a:t>
            </a:r>
            <a:r>
              <a:rPr lang="en-US" dirty="0" err="1"/>
              <a:t>definición</a:t>
            </a:r>
            <a:r>
              <a:rPr lang="en-US" dirty="0"/>
              <a:t> del </a:t>
            </a:r>
            <a:r>
              <a:rPr lang="en-US" dirty="0" err="1"/>
              <a:t>trabajo</a:t>
            </a:r>
            <a:r>
              <a:rPr lang="en-US" dirty="0"/>
              <a:t>  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5BD9B3A2-A7C5-43DA-B99F-C233B960B821}"/>
              </a:ext>
            </a:extLst>
          </p:cNvPr>
          <p:cNvSpPr txBox="1"/>
          <p:nvPr/>
        </p:nvSpPr>
        <p:spPr>
          <a:xfrm>
            <a:off x="3433824" y="2194974"/>
            <a:ext cx="8452596" cy="166199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350" dirty="0">
                <a:latin typeface="Calibri" panose="020F0502020204030204" pitchFamily="34" charset="0"/>
                <a:cs typeface="Calibri" panose="020F0502020204030204" pitchFamily="34" charset="0"/>
              </a:rPr>
              <a:t>Trabajadores esenciales son aquellos necesarios para mantener los sistemas, patrimonios y actividades que son vitales para la seguridad, la economía o la salud pública del estado (o de la nación), tal como lo define el</a:t>
            </a:r>
            <a:r>
              <a:rPr lang="es-HN" sz="13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HN" sz="13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Departamento de  Seguridad Nacional  </a:t>
            </a:r>
            <a:endParaRPr lang="es-HN" sz="135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350" dirty="0">
                <a:latin typeface="Calibri" panose="020F0502020204030204" pitchFamily="34" charset="0"/>
                <a:cs typeface="Calibri" panose="020F0502020204030204" pitchFamily="34" charset="0"/>
              </a:rPr>
              <a:t>El riesgo está asociado con la probabilidad de infectarse uno mismo o de diseminar el COVID. Los factores que incrementan el riesgo incluyen la cercanía, tipo de contacto, duración de los contactos y las dificultades  para implementar medidas de protección.</a:t>
            </a:r>
            <a:endParaRPr lang="es-HN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350" dirty="0">
                <a:latin typeface="Calibri" panose="020F0502020204030204" pitchFamily="34" charset="0"/>
                <a:cs typeface="Calibri" panose="020F0502020204030204" pitchFamily="34" charset="0"/>
              </a:rPr>
              <a:t>Los ambientes que brindan servicios esenciales y que hayan registrado altas tasas de t</a:t>
            </a:r>
            <a:r>
              <a:rPr lang="es-HN" sz="13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nsmisión o hayan tenido grupos de personas con la enfermedad en el pasado, son generalmente de alto riesgo. </a:t>
            </a:r>
          </a:p>
        </p:txBody>
      </p:sp>
      <p:sp>
        <p:nvSpPr>
          <p:cNvPr id="30" name="ee4pHeader1">
            <a:extLst>
              <a:ext uri="{FF2B5EF4-FFF2-40B4-BE49-F238E27FC236}">
                <a16:creationId xmlns:a16="http://schemas.microsoft.com/office/drawing/2014/main" id="{C9651F75-6C28-408C-8243-984F30A3049C}"/>
              </a:ext>
            </a:extLst>
          </p:cNvPr>
          <p:cNvSpPr txBox="1"/>
          <p:nvPr/>
        </p:nvSpPr>
        <p:spPr>
          <a:xfrm>
            <a:off x="3433825" y="1607031"/>
            <a:ext cx="8452596" cy="4154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Y" sz="1350" dirty="0">
                <a:latin typeface="Calibri" panose="020F0502020204030204" pitchFamily="34" charset="0"/>
                <a:cs typeface="Calibri" panose="020F0502020204030204" pitchFamily="34" charset="0"/>
              </a:rPr>
              <a:t>Trabajadores que brindan servicios esenciales y que tienen un riesgo más alto de ser infectados, porque sus trabajos requieren contacto continuo y cercano con un gran número de persona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252306-3D77-40FD-9AB8-1540045624C6}"/>
              </a:ext>
            </a:extLst>
          </p:cNvPr>
          <p:cNvSpPr txBox="1"/>
          <p:nvPr/>
        </p:nvSpPr>
        <p:spPr>
          <a:xfrm>
            <a:off x="3361059" y="3949300"/>
            <a:ext cx="8509789" cy="26007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Bomberos, policías, personal de primeros auxilios, oficiales de centros correccionales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Trabajadores de tiendas de comestibles y servicios de comida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Trabajadores de escuelas de Kínder a grado 12 y de guarderías, incluyendo maestros, personal de limpieza, choferes y otro personal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Plantas de procesamiento de alimentos, incluyendo plantas procesadoras de carne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Plantas de gran escala de manufactura para la aviación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Trabajadores de transporte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A" sz="1300" dirty="0">
                <a:solidFill>
                  <a:srgbClr val="000000">
                    <a:lumMod val="100000"/>
                  </a:srgbClr>
                </a:solidFill>
                <a:latin typeface="Arial Narrow" panose="020B0606020202030204" pitchFamily="34" charset="0"/>
              </a:rPr>
              <a:t>Trabajadores de las siguientes industrias, si necesitan regularmente estar en ambientes de alto riesgo para cumplir con sus deberes: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PA" sz="1300" dirty="0">
                <a:solidFill>
                  <a:srgbClr val="051934"/>
                </a:solidFill>
                <a:latin typeface="Arial Narrow" panose="020B0606020202030204" pitchFamily="34" charset="0"/>
              </a:rPr>
              <a:t>Venta al por menor, almacenes y venta al por mayor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PA" sz="1300" dirty="0">
                <a:solidFill>
                  <a:srgbClr val="051934"/>
                </a:solidFill>
                <a:latin typeface="Arial Narrow" panose="020B0606020202030204" pitchFamily="34" charset="0"/>
              </a:rPr>
              <a:t>Agricultura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PA" sz="1300" dirty="0">
                <a:solidFill>
                  <a:srgbClr val="051934"/>
                </a:solidFill>
                <a:latin typeface="Arial Narrow" panose="020B0606020202030204" pitchFamily="34" charset="0"/>
              </a:rPr>
              <a:t>Abastecimiento de servicios esenciales o materiales para la respuesta contra el COVID (por ejemplo, equipos de protección – PPE)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PA" sz="1300" dirty="0">
                <a:solidFill>
                  <a:srgbClr val="051934"/>
                </a:solidFill>
                <a:latin typeface="Arial Narrow" panose="020B0606020202030204" pitchFamily="34" charset="0"/>
              </a:rPr>
              <a:t>Servicio Postal de los Estados Unidos </a:t>
            </a:r>
          </a:p>
          <a:p>
            <a:pPr marL="756000" lvl="2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s-PA" sz="1300" dirty="0">
                <a:solidFill>
                  <a:srgbClr val="051934"/>
                </a:solidFill>
                <a:latin typeface="Arial Narrow" panose="020B0606020202030204" pitchFamily="34" charset="0"/>
              </a:rPr>
              <a:t>Departamento de Vehículos Motores (DMV)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52D7E76-63EE-4477-A148-E8FF399581A8}"/>
              </a:ext>
            </a:extLst>
          </p:cNvPr>
          <p:cNvGrpSpPr/>
          <p:nvPr/>
        </p:nvGrpSpPr>
        <p:grpSpPr>
          <a:xfrm>
            <a:off x="-1" y="2574263"/>
            <a:ext cx="3361060" cy="738663"/>
            <a:chOff x="-1" y="2404883"/>
            <a:chExt cx="3361060" cy="738663"/>
          </a:xfrm>
        </p:grpSpPr>
        <p:sp>
          <p:nvSpPr>
            <p:cNvPr id="84" name="Rectangle: Top Corners Rounded 83">
              <a:extLst>
                <a:ext uri="{FF2B5EF4-FFF2-40B4-BE49-F238E27FC236}">
                  <a16:creationId xmlns:a16="http://schemas.microsoft.com/office/drawing/2014/main" id="{98E369D1-4E53-4567-9E30-386D2BB9BB5E}"/>
                </a:ext>
              </a:extLst>
            </p:cNvPr>
            <p:cNvSpPr/>
            <p:nvPr/>
          </p:nvSpPr>
          <p:spPr>
            <a:xfrm rot="5400000">
              <a:off x="1311197" y="1093685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87" name="ee4pHeader1">
              <a:extLst>
                <a:ext uri="{FF2B5EF4-FFF2-40B4-BE49-F238E27FC236}">
                  <a16:creationId xmlns:a16="http://schemas.microsoft.com/office/drawing/2014/main" id="{B85A3351-F11F-45D3-8558-68300E4A381A}"/>
                </a:ext>
              </a:extLst>
            </p:cNvPr>
            <p:cNvSpPr txBox="1"/>
            <p:nvPr/>
          </p:nvSpPr>
          <p:spPr>
            <a:xfrm>
              <a:off x="288478" y="2635715"/>
              <a:ext cx="2923073" cy="2769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scrip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6EB4A6C-5A14-44BF-B9BE-B9E03D27BD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02" y="2551028"/>
              <a:ext cx="445944" cy="446374"/>
              <a:chOff x="5273675" y="2605088"/>
              <a:chExt cx="1644650" cy="1646237"/>
            </a:xfrm>
          </p:grpSpPr>
          <p:sp>
            <p:nvSpPr>
              <p:cNvPr id="97" name="AutoShape 13">
                <a:extLst>
                  <a:ext uri="{FF2B5EF4-FFF2-40B4-BE49-F238E27FC236}">
                    <a16:creationId xmlns:a16="http://schemas.microsoft.com/office/drawing/2014/main" id="{42F5C32A-ADA5-4D73-9F08-AF51C53FBB7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3678A4DD-B9F7-4CB1-9C48-0819071F1F94}"/>
                  </a:ext>
                </a:extLst>
              </p:cNvPr>
              <p:cNvGrpSpPr/>
              <p:nvPr/>
            </p:nvGrpSpPr>
            <p:grpSpPr>
              <a:xfrm>
                <a:off x="5374481" y="2739232"/>
                <a:ext cx="1443038" cy="1377949"/>
                <a:chOff x="5373687" y="2738438"/>
                <a:chExt cx="1443038" cy="1377949"/>
              </a:xfrm>
            </p:grpSpPr>
            <p:sp>
              <p:nvSpPr>
                <p:cNvPr id="99" name="Freeform 15">
                  <a:extLst>
                    <a:ext uri="{FF2B5EF4-FFF2-40B4-BE49-F238E27FC236}">
                      <a16:creationId xmlns:a16="http://schemas.microsoft.com/office/drawing/2014/main" id="{DFCDDE39-30A5-4E39-8942-B1FF23F0AF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37225" y="2797175"/>
                  <a:ext cx="701675" cy="582612"/>
                </a:xfrm>
                <a:custGeom>
                  <a:avLst/>
                  <a:gdLst>
                    <a:gd name="T0" fmla="*/ 958 w 983"/>
                    <a:gd name="T1" fmla="*/ 576 h 816"/>
                    <a:gd name="T2" fmla="*/ 960 w 983"/>
                    <a:gd name="T3" fmla="*/ 487 h 816"/>
                    <a:gd name="T4" fmla="*/ 139 w 983"/>
                    <a:gd name="T5" fmla="*/ 142 h 816"/>
                    <a:gd name="T6" fmla="*/ 31 w 983"/>
                    <a:gd name="T7" fmla="*/ 692 h 816"/>
                    <a:gd name="T8" fmla="*/ 48 w 983"/>
                    <a:gd name="T9" fmla="*/ 700 h 816"/>
                    <a:gd name="T10" fmla="*/ 62 w 983"/>
                    <a:gd name="T11" fmla="*/ 695 h 816"/>
                    <a:gd name="T12" fmla="*/ 65 w 983"/>
                    <a:gd name="T13" fmla="*/ 664 h 816"/>
                    <a:gd name="T14" fmla="*/ 87 w 983"/>
                    <a:gd name="T15" fmla="*/ 291 h 816"/>
                    <a:gd name="T16" fmla="*/ 212 w 983"/>
                    <a:gd name="T17" fmla="*/ 414 h 816"/>
                    <a:gd name="T18" fmla="*/ 155 w 983"/>
                    <a:gd name="T19" fmla="*/ 455 h 816"/>
                    <a:gd name="T20" fmla="*/ 242 w 983"/>
                    <a:gd name="T21" fmla="*/ 455 h 816"/>
                    <a:gd name="T22" fmla="*/ 330 w 983"/>
                    <a:gd name="T23" fmla="*/ 364 h 816"/>
                    <a:gd name="T24" fmla="*/ 353 w 983"/>
                    <a:gd name="T25" fmla="*/ 365 h 816"/>
                    <a:gd name="T26" fmla="*/ 408 w 983"/>
                    <a:gd name="T27" fmla="*/ 467 h 816"/>
                    <a:gd name="T28" fmla="*/ 376 w 983"/>
                    <a:gd name="T29" fmla="*/ 659 h 816"/>
                    <a:gd name="T30" fmla="*/ 349 w 983"/>
                    <a:gd name="T31" fmla="*/ 679 h 816"/>
                    <a:gd name="T32" fmla="*/ 170 w 983"/>
                    <a:gd name="T33" fmla="*/ 675 h 816"/>
                    <a:gd name="T34" fmla="*/ 122 w 983"/>
                    <a:gd name="T35" fmla="*/ 676 h 816"/>
                    <a:gd name="T36" fmla="*/ 104 w 983"/>
                    <a:gd name="T37" fmla="*/ 712 h 816"/>
                    <a:gd name="T38" fmla="*/ 147 w 983"/>
                    <a:gd name="T39" fmla="*/ 755 h 816"/>
                    <a:gd name="T40" fmla="*/ 348 w 983"/>
                    <a:gd name="T41" fmla="*/ 723 h 816"/>
                    <a:gd name="T42" fmla="*/ 417 w 983"/>
                    <a:gd name="T43" fmla="*/ 816 h 816"/>
                    <a:gd name="T44" fmla="*/ 420 w 983"/>
                    <a:gd name="T45" fmla="*/ 729 h 816"/>
                    <a:gd name="T46" fmla="*/ 474 w 983"/>
                    <a:gd name="T47" fmla="*/ 740 h 816"/>
                    <a:gd name="T48" fmla="*/ 558 w 983"/>
                    <a:gd name="T49" fmla="*/ 739 h 816"/>
                    <a:gd name="T50" fmla="*/ 617 w 983"/>
                    <a:gd name="T51" fmla="*/ 735 h 816"/>
                    <a:gd name="T52" fmla="*/ 626 w 983"/>
                    <a:gd name="T53" fmla="*/ 816 h 816"/>
                    <a:gd name="T54" fmla="*/ 682 w 983"/>
                    <a:gd name="T55" fmla="*/ 725 h 816"/>
                    <a:gd name="T56" fmla="*/ 852 w 983"/>
                    <a:gd name="T57" fmla="*/ 765 h 816"/>
                    <a:gd name="T58" fmla="*/ 896 w 983"/>
                    <a:gd name="T59" fmla="*/ 721 h 816"/>
                    <a:gd name="T60" fmla="*/ 852 w 983"/>
                    <a:gd name="T61" fmla="*/ 678 h 816"/>
                    <a:gd name="T62" fmla="*/ 683 w 983"/>
                    <a:gd name="T63" fmla="*/ 680 h 816"/>
                    <a:gd name="T64" fmla="*/ 654 w 983"/>
                    <a:gd name="T65" fmla="*/ 659 h 816"/>
                    <a:gd name="T66" fmla="*/ 613 w 983"/>
                    <a:gd name="T67" fmla="*/ 467 h 816"/>
                    <a:gd name="T68" fmla="*/ 674 w 983"/>
                    <a:gd name="T69" fmla="*/ 366 h 816"/>
                    <a:gd name="T70" fmla="*/ 695 w 983"/>
                    <a:gd name="T71" fmla="*/ 361 h 816"/>
                    <a:gd name="T72" fmla="*/ 765 w 983"/>
                    <a:gd name="T73" fmla="*/ 437 h 816"/>
                    <a:gd name="T74" fmla="*/ 852 w 983"/>
                    <a:gd name="T75" fmla="*/ 437 h 816"/>
                    <a:gd name="T76" fmla="*/ 796 w 983"/>
                    <a:gd name="T77" fmla="*/ 395 h 816"/>
                    <a:gd name="T78" fmla="*/ 870 w 983"/>
                    <a:gd name="T79" fmla="*/ 286 h 816"/>
                    <a:gd name="T80" fmla="*/ 916 w 983"/>
                    <a:gd name="T81" fmla="*/ 505 h 816"/>
                    <a:gd name="T82" fmla="*/ 914 w 983"/>
                    <a:gd name="T83" fmla="*/ 572 h 816"/>
                    <a:gd name="T84" fmla="*/ 939 w 983"/>
                    <a:gd name="T85" fmla="*/ 668 h 816"/>
                    <a:gd name="T86" fmla="*/ 977 w 983"/>
                    <a:gd name="T87" fmla="*/ 647 h 816"/>
                    <a:gd name="T88" fmla="*/ 612 w 983"/>
                    <a:gd name="T89" fmla="*/ 673 h 816"/>
                    <a:gd name="T90" fmla="*/ 547 w 983"/>
                    <a:gd name="T91" fmla="*/ 696 h 816"/>
                    <a:gd name="T92" fmla="*/ 484 w 983"/>
                    <a:gd name="T93" fmla="*/ 697 h 816"/>
                    <a:gd name="T94" fmla="*/ 418 w 983"/>
                    <a:gd name="T95" fmla="*/ 673 h 816"/>
                    <a:gd name="T96" fmla="*/ 468 w 983"/>
                    <a:gd name="T97" fmla="*/ 507 h 816"/>
                    <a:gd name="T98" fmla="*/ 532 w 983"/>
                    <a:gd name="T99" fmla="*/ 489 h 816"/>
                    <a:gd name="T100" fmla="*/ 609 w 983"/>
                    <a:gd name="T101" fmla="*/ 665 h 816"/>
                    <a:gd name="T102" fmla="*/ 569 w 983"/>
                    <a:gd name="T103" fmla="*/ 423 h 816"/>
                    <a:gd name="T104" fmla="*/ 489 w 983"/>
                    <a:gd name="T105" fmla="*/ 445 h 816"/>
                    <a:gd name="T106" fmla="*/ 390 w 983"/>
                    <a:gd name="T107" fmla="*/ 341 h 816"/>
                    <a:gd name="T108" fmla="*/ 636 w 983"/>
                    <a:gd name="T109" fmla="*/ 343 h 816"/>
                    <a:gd name="T110" fmla="*/ 703 w 983"/>
                    <a:gd name="T111" fmla="*/ 290 h 816"/>
                    <a:gd name="T112" fmla="*/ 639 w 983"/>
                    <a:gd name="T113" fmla="*/ 297 h 816"/>
                    <a:gd name="T114" fmla="*/ 344 w 983"/>
                    <a:gd name="T115" fmla="*/ 279 h 816"/>
                    <a:gd name="T116" fmla="*/ 109 w 983"/>
                    <a:gd name="T117" fmla="*/ 251 h 816"/>
                    <a:gd name="T118" fmla="*/ 848 w 983"/>
                    <a:gd name="T119" fmla="*/ 246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83" h="816">
                      <a:moveTo>
                        <a:pt x="977" y="647"/>
                      </a:moveTo>
                      <a:cubicBezTo>
                        <a:pt x="958" y="612"/>
                        <a:pt x="957" y="586"/>
                        <a:pt x="958" y="576"/>
                      </a:cubicBezTo>
                      <a:cubicBezTo>
                        <a:pt x="960" y="552"/>
                        <a:pt x="960" y="528"/>
                        <a:pt x="960" y="505"/>
                      </a:cubicBezTo>
                      <a:cubicBezTo>
                        <a:pt x="960" y="499"/>
                        <a:pt x="960" y="493"/>
                        <a:pt x="960" y="487"/>
                      </a:cubicBezTo>
                      <a:cubicBezTo>
                        <a:pt x="960" y="214"/>
                        <a:pt x="749" y="0"/>
                        <a:pt x="481" y="0"/>
                      </a:cubicBezTo>
                      <a:cubicBezTo>
                        <a:pt x="350" y="0"/>
                        <a:pt x="229" y="50"/>
                        <a:pt x="139" y="142"/>
                      </a:cubicBezTo>
                      <a:cubicBezTo>
                        <a:pt x="49" y="234"/>
                        <a:pt x="0" y="356"/>
                        <a:pt x="0" y="487"/>
                      </a:cubicBezTo>
                      <a:cubicBezTo>
                        <a:pt x="0" y="489"/>
                        <a:pt x="2" y="657"/>
                        <a:pt x="31" y="692"/>
                      </a:cubicBezTo>
                      <a:cubicBezTo>
                        <a:pt x="33" y="694"/>
                        <a:pt x="35" y="696"/>
                        <a:pt x="37" y="697"/>
                      </a:cubicBezTo>
                      <a:cubicBezTo>
                        <a:pt x="41" y="699"/>
                        <a:pt x="45" y="700"/>
                        <a:pt x="48" y="700"/>
                      </a:cubicBezTo>
                      <a:cubicBezTo>
                        <a:pt x="49" y="700"/>
                        <a:pt x="49" y="700"/>
                        <a:pt x="50" y="700"/>
                      </a:cubicBezTo>
                      <a:cubicBezTo>
                        <a:pt x="54" y="699"/>
                        <a:pt x="59" y="698"/>
                        <a:pt x="62" y="695"/>
                      </a:cubicBezTo>
                      <a:cubicBezTo>
                        <a:pt x="68" y="690"/>
                        <a:pt x="70" y="684"/>
                        <a:pt x="70" y="677"/>
                      </a:cubicBezTo>
                      <a:cubicBezTo>
                        <a:pt x="70" y="672"/>
                        <a:pt x="68" y="668"/>
                        <a:pt x="65" y="664"/>
                      </a:cubicBezTo>
                      <a:cubicBezTo>
                        <a:pt x="55" y="650"/>
                        <a:pt x="44" y="555"/>
                        <a:pt x="44" y="487"/>
                      </a:cubicBezTo>
                      <a:cubicBezTo>
                        <a:pt x="44" y="416"/>
                        <a:pt x="60" y="350"/>
                        <a:pt x="87" y="291"/>
                      </a:cubicBezTo>
                      <a:cubicBezTo>
                        <a:pt x="299" y="333"/>
                        <a:pt x="299" y="333"/>
                        <a:pt x="299" y="333"/>
                      </a:cubicBezTo>
                      <a:cubicBezTo>
                        <a:pt x="212" y="414"/>
                        <a:pt x="212" y="414"/>
                        <a:pt x="212" y="414"/>
                      </a:cubicBezTo>
                      <a:cubicBezTo>
                        <a:pt x="207" y="413"/>
                        <a:pt x="203" y="412"/>
                        <a:pt x="198" y="412"/>
                      </a:cubicBezTo>
                      <a:cubicBezTo>
                        <a:pt x="174" y="412"/>
                        <a:pt x="155" y="431"/>
                        <a:pt x="155" y="455"/>
                      </a:cubicBezTo>
                      <a:cubicBezTo>
                        <a:pt x="155" y="479"/>
                        <a:pt x="174" y="499"/>
                        <a:pt x="198" y="499"/>
                      </a:cubicBezTo>
                      <a:cubicBezTo>
                        <a:pt x="222" y="499"/>
                        <a:pt x="242" y="479"/>
                        <a:pt x="242" y="455"/>
                      </a:cubicBezTo>
                      <a:cubicBezTo>
                        <a:pt x="242" y="452"/>
                        <a:pt x="242" y="449"/>
                        <a:pt x="241" y="447"/>
                      </a:cubicBezTo>
                      <a:cubicBezTo>
                        <a:pt x="330" y="364"/>
                        <a:pt x="330" y="364"/>
                        <a:pt x="330" y="364"/>
                      </a:cubicBezTo>
                      <a:cubicBezTo>
                        <a:pt x="335" y="365"/>
                        <a:pt x="339" y="366"/>
                        <a:pt x="344" y="366"/>
                      </a:cubicBezTo>
                      <a:cubicBezTo>
                        <a:pt x="347" y="366"/>
                        <a:pt x="350" y="366"/>
                        <a:pt x="353" y="365"/>
                      </a:cubicBezTo>
                      <a:cubicBezTo>
                        <a:pt x="413" y="445"/>
                        <a:pt x="413" y="445"/>
                        <a:pt x="413" y="445"/>
                      </a:cubicBezTo>
                      <a:cubicBezTo>
                        <a:pt x="410" y="451"/>
                        <a:pt x="408" y="459"/>
                        <a:pt x="408" y="467"/>
                      </a:cubicBezTo>
                      <a:cubicBezTo>
                        <a:pt x="408" y="481"/>
                        <a:pt x="414" y="493"/>
                        <a:pt x="424" y="501"/>
                      </a:cubicBezTo>
                      <a:cubicBezTo>
                        <a:pt x="376" y="659"/>
                        <a:pt x="376" y="659"/>
                        <a:pt x="376" y="659"/>
                      </a:cubicBezTo>
                      <a:cubicBezTo>
                        <a:pt x="368" y="661"/>
                        <a:pt x="361" y="665"/>
                        <a:pt x="355" y="671"/>
                      </a:cubicBezTo>
                      <a:cubicBezTo>
                        <a:pt x="353" y="673"/>
                        <a:pt x="350" y="676"/>
                        <a:pt x="349" y="679"/>
                      </a:cubicBezTo>
                      <a:cubicBezTo>
                        <a:pt x="184" y="689"/>
                        <a:pt x="184" y="689"/>
                        <a:pt x="184" y="689"/>
                      </a:cubicBezTo>
                      <a:cubicBezTo>
                        <a:pt x="181" y="683"/>
                        <a:pt x="176" y="679"/>
                        <a:pt x="170" y="675"/>
                      </a:cubicBezTo>
                      <a:cubicBezTo>
                        <a:pt x="164" y="671"/>
                        <a:pt x="156" y="668"/>
                        <a:pt x="147" y="668"/>
                      </a:cubicBezTo>
                      <a:cubicBezTo>
                        <a:pt x="138" y="668"/>
                        <a:pt x="129" y="671"/>
                        <a:pt x="122" y="676"/>
                      </a:cubicBezTo>
                      <a:cubicBezTo>
                        <a:pt x="113" y="683"/>
                        <a:pt x="106" y="694"/>
                        <a:pt x="104" y="706"/>
                      </a:cubicBezTo>
                      <a:cubicBezTo>
                        <a:pt x="104" y="708"/>
                        <a:pt x="104" y="710"/>
                        <a:pt x="104" y="712"/>
                      </a:cubicBezTo>
                      <a:cubicBezTo>
                        <a:pt x="104" y="726"/>
                        <a:pt x="110" y="738"/>
                        <a:pt x="121" y="746"/>
                      </a:cubicBezTo>
                      <a:cubicBezTo>
                        <a:pt x="128" y="752"/>
                        <a:pt x="137" y="755"/>
                        <a:pt x="147" y="755"/>
                      </a:cubicBezTo>
                      <a:cubicBezTo>
                        <a:pt x="164" y="755"/>
                        <a:pt x="178" y="746"/>
                        <a:pt x="185" y="733"/>
                      </a:cubicBezTo>
                      <a:cubicBezTo>
                        <a:pt x="348" y="723"/>
                        <a:pt x="348" y="723"/>
                        <a:pt x="348" y="723"/>
                      </a:cubicBezTo>
                      <a:cubicBezTo>
                        <a:pt x="354" y="734"/>
                        <a:pt x="365" y="743"/>
                        <a:pt x="378" y="745"/>
                      </a:cubicBezTo>
                      <a:cubicBezTo>
                        <a:pt x="417" y="816"/>
                        <a:pt x="417" y="816"/>
                        <a:pt x="417" y="816"/>
                      </a:cubicBezTo>
                      <a:cubicBezTo>
                        <a:pt x="468" y="816"/>
                        <a:pt x="468" y="816"/>
                        <a:pt x="468" y="816"/>
                      </a:cubicBezTo>
                      <a:cubicBezTo>
                        <a:pt x="420" y="729"/>
                        <a:pt x="420" y="729"/>
                        <a:pt x="420" y="729"/>
                      </a:cubicBezTo>
                      <a:cubicBezTo>
                        <a:pt x="420" y="729"/>
                        <a:pt x="420" y="728"/>
                        <a:pt x="420" y="728"/>
                      </a:cubicBezTo>
                      <a:cubicBezTo>
                        <a:pt x="474" y="740"/>
                        <a:pt x="474" y="740"/>
                        <a:pt x="474" y="740"/>
                      </a:cubicBezTo>
                      <a:cubicBezTo>
                        <a:pt x="480" y="758"/>
                        <a:pt x="496" y="771"/>
                        <a:pt x="516" y="771"/>
                      </a:cubicBezTo>
                      <a:cubicBezTo>
                        <a:pt x="536" y="771"/>
                        <a:pt x="553" y="757"/>
                        <a:pt x="558" y="739"/>
                      </a:cubicBezTo>
                      <a:cubicBezTo>
                        <a:pt x="610" y="728"/>
                        <a:pt x="610" y="728"/>
                        <a:pt x="610" y="728"/>
                      </a:cubicBezTo>
                      <a:cubicBezTo>
                        <a:pt x="612" y="731"/>
                        <a:pt x="614" y="733"/>
                        <a:pt x="617" y="735"/>
                      </a:cubicBezTo>
                      <a:cubicBezTo>
                        <a:pt x="577" y="816"/>
                        <a:pt x="577" y="816"/>
                        <a:pt x="577" y="816"/>
                      </a:cubicBezTo>
                      <a:cubicBezTo>
                        <a:pt x="626" y="816"/>
                        <a:pt x="626" y="816"/>
                        <a:pt x="626" y="816"/>
                      </a:cubicBezTo>
                      <a:cubicBezTo>
                        <a:pt x="663" y="741"/>
                        <a:pt x="663" y="741"/>
                        <a:pt x="663" y="741"/>
                      </a:cubicBezTo>
                      <a:cubicBezTo>
                        <a:pt x="671" y="738"/>
                        <a:pt x="677" y="732"/>
                        <a:pt x="682" y="725"/>
                      </a:cubicBezTo>
                      <a:cubicBezTo>
                        <a:pt x="812" y="738"/>
                        <a:pt x="812" y="738"/>
                        <a:pt x="812" y="738"/>
                      </a:cubicBezTo>
                      <a:cubicBezTo>
                        <a:pt x="818" y="754"/>
                        <a:pt x="834" y="765"/>
                        <a:pt x="852" y="765"/>
                      </a:cubicBezTo>
                      <a:cubicBezTo>
                        <a:pt x="858" y="765"/>
                        <a:pt x="863" y="764"/>
                        <a:pt x="868" y="762"/>
                      </a:cubicBezTo>
                      <a:cubicBezTo>
                        <a:pt x="884" y="755"/>
                        <a:pt x="896" y="740"/>
                        <a:pt x="896" y="721"/>
                      </a:cubicBezTo>
                      <a:cubicBezTo>
                        <a:pt x="896" y="717"/>
                        <a:pt x="895" y="713"/>
                        <a:pt x="894" y="709"/>
                      </a:cubicBezTo>
                      <a:cubicBezTo>
                        <a:pt x="889" y="691"/>
                        <a:pt x="872" y="678"/>
                        <a:pt x="852" y="678"/>
                      </a:cubicBezTo>
                      <a:cubicBezTo>
                        <a:pt x="838" y="678"/>
                        <a:pt x="826" y="684"/>
                        <a:pt x="818" y="694"/>
                      </a:cubicBezTo>
                      <a:cubicBezTo>
                        <a:pt x="683" y="680"/>
                        <a:pt x="683" y="680"/>
                        <a:pt x="683" y="680"/>
                      </a:cubicBezTo>
                      <a:cubicBezTo>
                        <a:pt x="679" y="674"/>
                        <a:pt x="673" y="668"/>
                        <a:pt x="666" y="664"/>
                      </a:cubicBezTo>
                      <a:cubicBezTo>
                        <a:pt x="662" y="662"/>
                        <a:pt x="658" y="660"/>
                        <a:pt x="654" y="659"/>
                      </a:cubicBezTo>
                      <a:cubicBezTo>
                        <a:pt x="598" y="499"/>
                        <a:pt x="598" y="499"/>
                        <a:pt x="598" y="499"/>
                      </a:cubicBezTo>
                      <a:cubicBezTo>
                        <a:pt x="607" y="491"/>
                        <a:pt x="613" y="480"/>
                        <a:pt x="613" y="467"/>
                      </a:cubicBezTo>
                      <a:cubicBezTo>
                        <a:pt x="613" y="459"/>
                        <a:pt x="611" y="453"/>
                        <a:pt x="608" y="447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82" y="366"/>
                        <a:pt x="689" y="364"/>
                        <a:pt x="695" y="361"/>
                      </a:cubicBezTo>
                      <a:cubicBezTo>
                        <a:pt x="766" y="427"/>
                        <a:pt x="766" y="427"/>
                        <a:pt x="766" y="427"/>
                      </a:cubicBezTo>
                      <a:cubicBezTo>
                        <a:pt x="765" y="430"/>
                        <a:pt x="765" y="433"/>
                        <a:pt x="765" y="437"/>
                      </a:cubicBezTo>
                      <a:cubicBezTo>
                        <a:pt x="765" y="461"/>
                        <a:pt x="785" y="480"/>
                        <a:pt x="809" y="480"/>
                      </a:cubicBezTo>
                      <a:cubicBezTo>
                        <a:pt x="833" y="480"/>
                        <a:pt x="852" y="461"/>
                        <a:pt x="852" y="437"/>
                      </a:cubicBezTo>
                      <a:cubicBezTo>
                        <a:pt x="852" y="413"/>
                        <a:pt x="833" y="393"/>
                        <a:pt x="809" y="393"/>
                      </a:cubicBezTo>
                      <a:cubicBezTo>
                        <a:pt x="804" y="393"/>
                        <a:pt x="800" y="394"/>
                        <a:pt x="796" y="395"/>
                      </a:cubicBezTo>
                      <a:cubicBezTo>
                        <a:pt x="726" y="329"/>
                        <a:pt x="726" y="329"/>
                        <a:pt x="726" y="329"/>
                      </a:cubicBezTo>
                      <a:cubicBezTo>
                        <a:pt x="870" y="286"/>
                        <a:pt x="870" y="286"/>
                        <a:pt x="870" y="286"/>
                      </a:cubicBezTo>
                      <a:cubicBezTo>
                        <a:pt x="899" y="346"/>
                        <a:pt x="916" y="414"/>
                        <a:pt x="916" y="487"/>
                      </a:cubicBezTo>
                      <a:cubicBezTo>
                        <a:pt x="916" y="493"/>
                        <a:pt x="916" y="499"/>
                        <a:pt x="916" y="505"/>
                      </a:cubicBezTo>
                      <a:cubicBezTo>
                        <a:pt x="916" y="528"/>
                        <a:pt x="916" y="550"/>
                        <a:pt x="914" y="572"/>
                      </a:cubicBezTo>
                      <a:cubicBezTo>
                        <a:pt x="914" y="572"/>
                        <a:pt x="914" y="572"/>
                        <a:pt x="914" y="572"/>
                      </a:cubicBezTo>
                      <a:cubicBezTo>
                        <a:pt x="912" y="598"/>
                        <a:pt x="919" y="629"/>
                        <a:pt x="933" y="658"/>
                      </a:cubicBezTo>
                      <a:cubicBezTo>
                        <a:pt x="935" y="661"/>
                        <a:pt x="937" y="665"/>
                        <a:pt x="939" y="668"/>
                      </a:cubicBezTo>
                      <a:cubicBezTo>
                        <a:pt x="945" y="679"/>
                        <a:pt x="958" y="683"/>
                        <a:pt x="969" y="677"/>
                      </a:cubicBezTo>
                      <a:cubicBezTo>
                        <a:pt x="979" y="671"/>
                        <a:pt x="983" y="657"/>
                        <a:pt x="977" y="647"/>
                      </a:cubicBezTo>
                      <a:close/>
                      <a:moveTo>
                        <a:pt x="609" y="665"/>
                      </a:moveTo>
                      <a:cubicBezTo>
                        <a:pt x="612" y="673"/>
                        <a:pt x="612" y="673"/>
                        <a:pt x="612" y="673"/>
                      </a:cubicBezTo>
                      <a:cubicBezTo>
                        <a:pt x="609" y="677"/>
                        <a:pt x="607" y="680"/>
                        <a:pt x="605" y="684"/>
                      </a:cubicBezTo>
                      <a:cubicBezTo>
                        <a:pt x="547" y="696"/>
                        <a:pt x="547" y="696"/>
                        <a:pt x="547" y="696"/>
                      </a:cubicBezTo>
                      <a:cubicBezTo>
                        <a:pt x="539" y="688"/>
                        <a:pt x="528" y="684"/>
                        <a:pt x="516" y="684"/>
                      </a:cubicBezTo>
                      <a:cubicBezTo>
                        <a:pt x="503" y="684"/>
                        <a:pt x="492" y="689"/>
                        <a:pt x="484" y="697"/>
                      </a:cubicBezTo>
                      <a:cubicBezTo>
                        <a:pt x="425" y="684"/>
                        <a:pt x="425" y="684"/>
                        <a:pt x="425" y="684"/>
                      </a:cubicBezTo>
                      <a:cubicBezTo>
                        <a:pt x="424" y="680"/>
                        <a:pt x="421" y="676"/>
                        <a:pt x="418" y="673"/>
                      </a:cubicBezTo>
                      <a:cubicBezTo>
                        <a:pt x="419" y="669"/>
                        <a:pt x="419" y="669"/>
                        <a:pt x="419" y="669"/>
                      </a:cubicBezTo>
                      <a:cubicBezTo>
                        <a:pt x="468" y="507"/>
                        <a:pt x="468" y="507"/>
                        <a:pt x="468" y="507"/>
                      </a:cubicBezTo>
                      <a:cubicBezTo>
                        <a:pt x="477" y="503"/>
                        <a:pt x="484" y="497"/>
                        <a:pt x="489" y="489"/>
                      </a:cubicBezTo>
                      <a:cubicBezTo>
                        <a:pt x="532" y="489"/>
                        <a:pt x="532" y="489"/>
                        <a:pt x="532" y="489"/>
                      </a:cubicBezTo>
                      <a:cubicBezTo>
                        <a:pt x="537" y="497"/>
                        <a:pt x="545" y="504"/>
                        <a:pt x="554" y="507"/>
                      </a:cubicBezTo>
                      <a:lnTo>
                        <a:pt x="609" y="665"/>
                      </a:lnTo>
                      <a:close/>
                      <a:moveTo>
                        <a:pt x="570" y="423"/>
                      </a:moveTo>
                      <a:cubicBezTo>
                        <a:pt x="570" y="423"/>
                        <a:pt x="570" y="423"/>
                        <a:pt x="569" y="423"/>
                      </a:cubicBezTo>
                      <a:cubicBezTo>
                        <a:pt x="553" y="423"/>
                        <a:pt x="539" y="432"/>
                        <a:pt x="532" y="445"/>
                      </a:cubicBezTo>
                      <a:cubicBezTo>
                        <a:pt x="489" y="445"/>
                        <a:pt x="489" y="445"/>
                        <a:pt x="489" y="445"/>
                      </a:cubicBezTo>
                      <a:cubicBezTo>
                        <a:pt x="481" y="432"/>
                        <a:pt x="468" y="424"/>
                        <a:pt x="452" y="423"/>
                      </a:cubicBezTo>
                      <a:cubicBezTo>
                        <a:pt x="390" y="341"/>
                        <a:pt x="390" y="341"/>
                        <a:pt x="390" y="341"/>
                      </a:cubicBezTo>
                      <a:cubicBezTo>
                        <a:pt x="635" y="341"/>
                        <a:pt x="635" y="341"/>
                        <a:pt x="635" y="341"/>
                      </a:cubicBezTo>
                      <a:cubicBezTo>
                        <a:pt x="635" y="342"/>
                        <a:pt x="636" y="342"/>
                        <a:pt x="636" y="343"/>
                      </a:cubicBezTo>
                      <a:lnTo>
                        <a:pt x="570" y="423"/>
                      </a:lnTo>
                      <a:close/>
                      <a:moveTo>
                        <a:pt x="703" y="290"/>
                      </a:moveTo>
                      <a:cubicBezTo>
                        <a:pt x="696" y="283"/>
                        <a:pt x="686" y="279"/>
                        <a:pt x="674" y="279"/>
                      </a:cubicBezTo>
                      <a:cubicBezTo>
                        <a:pt x="660" y="279"/>
                        <a:pt x="647" y="286"/>
                        <a:pt x="639" y="297"/>
                      </a:cubicBezTo>
                      <a:cubicBezTo>
                        <a:pt x="380" y="297"/>
                        <a:pt x="380" y="297"/>
                        <a:pt x="380" y="297"/>
                      </a:cubicBezTo>
                      <a:cubicBezTo>
                        <a:pt x="372" y="286"/>
                        <a:pt x="359" y="279"/>
                        <a:pt x="344" y="279"/>
                      </a:cubicBezTo>
                      <a:cubicBezTo>
                        <a:pt x="333" y="279"/>
                        <a:pt x="322" y="284"/>
                        <a:pt x="315" y="291"/>
                      </a:cubicBezTo>
                      <a:cubicBezTo>
                        <a:pt x="109" y="251"/>
                        <a:pt x="109" y="251"/>
                        <a:pt x="109" y="251"/>
                      </a:cubicBezTo>
                      <a:cubicBezTo>
                        <a:pt x="186" y="125"/>
                        <a:pt x="322" y="44"/>
                        <a:pt x="481" y="44"/>
                      </a:cubicBezTo>
                      <a:cubicBezTo>
                        <a:pt x="637" y="44"/>
                        <a:pt x="772" y="124"/>
                        <a:pt x="848" y="246"/>
                      </a:cubicBezTo>
                      <a:lnTo>
                        <a:pt x="703" y="2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6">
                  <a:extLst>
                    <a:ext uri="{FF2B5EF4-FFF2-40B4-BE49-F238E27FC236}">
                      <a16:creationId xmlns:a16="http://schemas.microsoft.com/office/drawing/2014/main" id="{50C0ED79-B0B0-4E5A-92A0-D62CAC7AB6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687" y="2738438"/>
                  <a:ext cx="1443038" cy="1377949"/>
                </a:xfrm>
                <a:custGeom>
                  <a:avLst/>
                  <a:gdLst>
                    <a:gd name="connsiteX0" fmla="*/ 1427273 w 1443038"/>
                    <a:gd name="connsiteY0" fmla="*/ 1274762 h 1377949"/>
                    <a:gd name="connsiteX1" fmla="*/ 1443038 w 1443038"/>
                    <a:gd name="connsiteY1" fmla="*/ 1290527 h 1377949"/>
                    <a:gd name="connsiteX2" fmla="*/ 1443038 w 1443038"/>
                    <a:gd name="connsiteY2" fmla="*/ 1362184 h 1377949"/>
                    <a:gd name="connsiteX3" fmla="*/ 1427273 w 1443038"/>
                    <a:gd name="connsiteY3" fmla="*/ 1377949 h 1377949"/>
                    <a:gd name="connsiteX4" fmla="*/ 1355615 w 1443038"/>
                    <a:gd name="connsiteY4" fmla="*/ 1377949 h 1377949"/>
                    <a:gd name="connsiteX5" fmla="*/ 1339850 w 1443038"/>
                    <a:gd name="connsiteY5" fmla="*/ 1362184 h 1377949"/>
                    <a:gd name="connsiteX6" fmla="*/ 1355615 w 1443038"/>
                    <a:gd name="connsiteY6" fmla="*/ 1346420 h 1377949"/>
                    <a:gd name="connsiteX7" fmla="*/ 1411509 w 1443038"/>
                    <a:gd name="connsiteY7" fmla="*/ 1346420 h 1377949"/>
                    <a:gd name="connsiteX8" fmla="*/ 1411509 w 1443038"/>
                    <a:gd name="connsiteY8" fmla="*/ 1290527 h 1377949"/>
                    <a:gd name="connsiteX9" fmla="*/ 1427273 w 1443038"/>
                    <a:gd name="connsiteY9" fmla="*/ 1274762 h 1377949"/>
                    <a:gd name="connsiteX10" fmla="*/ 15765 w 1443038"/>
                    <a:gd name="connsiteY10" fmla="*/ 1274762 h 1377949"/>
                    <a:gd name="connsiteX11" fmla="*/ 31529 w 1443038"/>
                    <a:gd name="connsiteY11" fmla="*/ 1290527 h 1377949"/>
                    <a:gd name="connsiteX12" fmla="*/ 31529 w 1443038"/>
                    <a:gd name="connsiteY12" fmla="*/ 1346420 h 1377949"/>
                    <a:gd name="connsiteX13" fmla="*/ 87423 w 1443038"/>
                    <a:gd name="connsiteY13" fmla="*/ 1346420 h 1377949"/>
                    <a:gd name="connsiteX14" fmla="*/ 103188 w 1443038"/>
                    <a:gd name="connsiteY14" fmla="*/ 1362184 h 1377949"/>
                    <a:gd name="connsiteX15" fmla="*/ 87423 w 1443038"/>
                    <a:gd name="connsiteY15" fmla="*/ 1377949 h 1377949"/>
                    <a:gd name="connsiteX16" fmla="*/ 15765 w 1443038"/>
                    <a:gd name="connsiteY16" fmla="*/ 1377949 h 1377949"/>
                    <a:gd name="connsiteX17" fmla="*/ 0 w 1443038"/>
                    <a:gd name="connsiteY17" fmla="*/ 1362184 h 1377949"/>
                    <a:gd name="connsiteX18" fmla="*/ 0 w 1443038"/>
                    <a:gd name="connsiteY18" fmla="*/ 1290527 h 1377949"/>
                    <a:gd name="connsiteX19" fmla="*/ 15765 w 1443038"/>
                    <a:gd name="connsiteY19" fmla="*/ 1274762 h 1377949"/>
                    <a:gd name="connsiteX20" fmla="*/ 502474 w 1443038"/>
                    <a:gd name="connsiteY20" fmla="*/ 969962 h 1377949"/>
                    <a:gd name="connsiteX21" fmla="*/ 513894 w 1443038"/>
                    <a:gd name="connsiteY21" fmla="*/ 969962 h 1377949"/>
                    <a:gd name="connsiteX22" fmla="*/ 533880 w 1443038"/>
                    <a:gd name="connsiteY22" fmla="*/ 986406 h 1377949"/>
                    <a:gd name="connsiteX23" fmla="*/ 544586 w 1443038"/>
                    <a:gd name="connsiteY23" fmla="*/ 994985 h 1377949"/>
                    <a:gd name="connsiteX24" fmla="*/ 718030 w 1443038"/>
                    <a:gd name="connsiteY24" fmla="*/ 1137261 h 1377949"/>
                    <a:gd name="connsiteX25" fmla="*/ 726595 w 1443038"/>
                    <a:gd name="connsiteY25" fmla="*/ 1136546 h 1377949"/>
                    <a:gd name="connsiteX26" fmla="*/ 900038 w 1443038"/>
                    <a:gd name="connsiteY26" fmla="*/ 994985 h 1377949"/>
                    <a:gd name="connsiteX27" fmla="*/ 910745 w 1443038"/>
                    <a:gd name="connsiteY27" fmla="*/ 986406 h 1377949"/>
                    <a:gd name="connsiteX28" fmla="*/ 930730 w 1443038"/>
                    <a:gd name="connsiteY28" fmla="*/ 969962 h 1377949"/>
                    <a:gd name="connsiteX29" fmla="*/ 942150 w 1443038"/>
                    <a:gd name="connsiteY29" fmla="*/ 969962 h 1377949"/>
                    <a:gd name="connsiteX30" fmla="*/ 1207669 w 1443038"/>
                    <a:gd name="connsiteY30" fmla="*/ 1017149 h 1377949"/>
                    <a:gd name="connsiteX31" fmla="*/ 1363268 w 1443038"/>
                    <a:gd name="connsiteY31" fmla="*/ 1243789 h 1377949"/>
                    <a:gd name="connsiteX32" fmla="*/ 1348279 w 1443038"/>
                    <a:gd name="connsiteY32" fmla="*/ 1265237 h 1377949"/>
                    <a:gd name="connsiteX33" fmla="*/ 96345 w 1443038"/>
                    <a:gd name="connsiteY33" fmla="*/ 1265237 h 1377949"/>
                    <a:gd name="connsiteX34" fmla="*/ 81356 w 1443038"/>
                    <a:gd name="connsiteY34" fmla="*/ 1243789 h 1377949"/>
                    <a:gd name="connsiteX35" fmla="*/ 236956 w 1443038"/>
                    <a:gd name="connsiteY35" fmla="*/ 1017149 h 1377949"/>
                    <a:gd name="connsiteX36" fmla="*/ 502474 w 1443038"/>
                    <a:gd name="connsiteY36" fmla="*/ 969962 h 1377949"/>
                    <a:gd name="connsiteX37" fmla="*/ 461962 w 1443038"/>
                    <a:gd name="connsiteY37" fmla="*/ 736600 h 1377949"/>
                    <a:gd name="connsiteX38" fmla="*/ 496284 w 1443038"/>
                    <a:gd name="connsiteY38" fmla="*/ 736600 h 1377949"/>
                    <a:gd name="connsiteX39" fmla="*/ 559922 w 1443038"/>
                    <a:gd name="connsiteY39" fmla="*/ 858347 h 1377949"/>
                    <a:gd name="connsiteX40" fmla="*/ 567072 w 1443038"/>
                    <a:gd name="connsiteY40" fmla="*/ 864043 h 1377949"/>
                    <a:gd name="connsiteX41" fmla="*/ 595673 w 1443038"/>
                    <a:gd name="connsiteY41" fmla="*/ 885402 h 1377949"/>
                    <a:gd name="connsiteX42" fmla="*/ 721519 w 1443038"/>
                    <a:gd name="connsiteY42" fmla="*/ 938800 h 1377949"/>
                    <a:gd name="connsiteX43" fmla="*/ 847364 w 1443038"/>
                    <a:gd name="connsiteY43" fmla="*/ 885402 h 1377949"/>
                    <a:gd name="connsiteX44" fmla="*/ 875966 w 1443038"/>
                    <a:gd name="connsiteY44" fmla="*/ 864043 h 1377949"/>
                    <a:gd name="connsiteX45" fmla="*/ 883116 w 1443038"/>
                    <a:gd name="connsiteY45" fmla="*/ 858347 h 1377949"/>
                    <a:gd name="connsiteX46" fmla="*/ 946754 w 1443038"/>
                    <a:gd name="connsiteY46" fmla="*/ 736600 h 1377949"/>
                    <a:gd name="connsiteX47" fmla="*/ 981075 w 1443038"/>
                    <a:gd name="connsiteY47" fmla="*/ 736600 h 1377949"/>
                    <a:gd name="connsiteX48" fmla="*/ 918152 w 1443038"/>
                    <a:gd name="connsiteY48" fmla="*/ 864043 h 1377949"/>
                    <a:gd name="connsiteX49" fmla="*/ 910287 w 1443038"/>
                    <a:gd name="connsiteY49" fmla="*/ 874722 h 1377949"/>
                    <a:gd name="connsiteX50" fmla="*/ 910287 w 1443038"/>
                    <a:gd name="connsiteY50" fmla="*/ 916728 h 1377949"/>
                    <a:gd name="connsiteX51" fmla="*/ 910287 w 1443038"/>
                    <a:gd name="connsiteY51" fmla="*/ 945919 h 1377949"/>
                    <a:gd name="connsiteX52" fmla="*/ 878826 w 1443038"/>
                    <a:gd name="connsiteY52" fmla="*/ 971550 h 1377949"/>
                    <a:gd name="connsiteX53" fmla="*/ 878826 w 1443038"/>
                    <a:gd name="connsiteY53" fmla="*/ 939511 h 1377949"/>
                    <a:gd name="connsiteX54" fmla="*/ 878826 w 1443038"/>
                    <a:gd name="connsiteY54" fmla="*/ 901065 h 1377949"/>
                    <a:gd name="connsiteX55" fmla="*/ 847364 w 1443038"/>
                    <a:gd name="connsiteY55" fmla="*/ 922424 h 1377949"/>
                    <a:gd name="connsiteX56" fmla="*/ 721519 w 1443038"/>
                    <a:gd name="connsiteY56" fmla="*/ 970126 h 1377949"/>
                    <a:gd name="connsiteX57" fmla="*/ 595673 w 1443038"/>
                    <a:gd name="connsiteY57" fmla="*/ 922424 h 1377949"/>
                    <a:gd name="connsiteX58" fmla="*/ 564212 w 1443038"/>
                    <a:gd name="connsiteY58" fmla="*/ 901065 h 1377949"/>
                    <a:gd name="connsiteX59" fmla="*/ 564212 w 1443038"/>
                    <a:gd name="connsiteY59" fmla="*/ 939511 h 1377949"/>
                    <a:gd name="connsiteX60" fmla="*/ 564212 w 1443038"/>
                    <a:gd name="connsiteY60" fmla="*/ 971550 h 1377949"/>
                    <a:gd name="connsiteX61" fmla="*/ 532750 w 1443038"/>
                    <a:gd name="connsiteY61" fmla="*/ 945919 h 1377949"/>
                    <a:gd name="connsiteX62" fmla="*/ 532750 w 1443038"/>
                    <a:gd name="connsiteY62" fmla="*/ 916728 h 1377949"/>
                    <a:gd name="connsiteX63" fmla="*/ 532750 w 1443038"/>
                    <a:gd name="connsiteY63" fmla="*/ 874722 h 1377949"/>
                    <a:gd name="connsiteX64" fmla="*/ 524885 w 1443038"/>
                    <a:gd name="connsiteY64" fmla="*/ 864043 h 1377949"/>
                    <a:gd name="connsiteX65" fmla="*/ 461962 w 1443038"/>
                    <a:gd name="connsiteY65" fmla="*/ 736600 h 1377949"/>
                    <a:gd name="connsiteX66" fmla="*/ 195101 w 1443038"/>
                    <a:gd name="connsiteY66" fmla="*/ 673100 h 1377949"/>
                    <a:gd name="connsiteX67" fmla="*/ 396526 w 1443038"/>
                    <a:gd name="connsiteY67" fmla="*/ 673100 h 1377949"/>
                    <a:gd name="connsiteX68" fmla="*/ 435810 w 1443038"/>
                    <a:gd name="connsiteY68" fmla="*/ 673100 h 1377949"/>
                    <a:gd name="connsiteX69" fmla="*/ 470095 w 1443038"/>
                    <a:gd name="connsiteY69" fmla="*/ 673100 h 1377949"/>
                    <a:gd name="connsiteX70" fmla="*/ 503666 w 1443038"/>
                    <a:gd name="connsiteY70" fmla="*/ 673100 h 1377949"/>
                    <a:gd name="connsiteX71" fmla="*/ 679377 w 1443038"/>
                    <a:gd name="connsiteY71" fmla="*/ 673100 h 1377949"/>
                    <a:gd name="connsiteX72" fmla="*/ 715090 w 1443038"/>
                    <a:gd name="connsiteY72" fmla="*/ 673100 h 1377949"/>
                    <a:gd name="connsiteX73" fmla="*/ 760804 w 1443038"/>
                    <a:gd name="connsiteY73" fmla="*/ 673100 h 1377949"/>
                    <a:gd name="connsiteX74" fmla="*/ 795803 w 1443038"/>
                    <a:gd name="connsiteY74" fmla="*/ 673100 h 1377949"/>
                    <a:gd name="connsiteX75" fmla="*/ 939371 w 1443038"/>
                    <a:gd name="connsiteY75" fmla="*/ 673100 h 1377949"/>
                    <a:gd name="connsiteX76" fmla="*/ 972942 w 1443038"/>
                    <a:gd name="connsiteY76" fmla="*/ 673100 h 1377949"/>
                    <a:gd name="connsiteX77" fmla="*/ 1007227 w 1443038"/>
                    <a:gd name="connsiteY77" fmla="*/ 673100 h 1377949"/>
                    <a:gd name="connsiteX78" fmla="*/ 1046512 w 1443038"/>
                    <a:gd name="connsiteY78" fmla="*/ 673100 h 1377949"/>
                    <a:gd name="connsiteX79" fmla="*/ 1247936 w 1443038"/>
                    <a:gd name="connsiteY79" fmla="*/ 673100 h 1377949"/>
                    <a:gd name="connsiteX80" fmla="*/ 1263650 w 1443038"/>
                    <a:gd name="connsiteY80" fmla="*/ 688975 h 1377949"/>
                    <a:gd name="connsiteX81" fmla="*/ 1247936 w 1443038"/>
                    <a:gd name="connsiteY81" fmla="*/ 704850 h 1377949"/>
                    <a:gd name="connsiteX82" fmla="*/ 1027941 w 1443038"/>
                    <a:gd name="connsiteY82" fmla="*/ 704850 h 1377949"/>
                    <a:gd name="connsiteX83" fmla="*/ 994370 w 1443038"/>
                    <a:gd name="connsiteY83" fmla="*/ 704850 h 1377949"/>
                    <a:gd name="connsiteX84" fmla="*/ 960085 w 1443038"/>
                    <a:gd name="connsiteY84" fmla="*/ 704850 h 1377949"/>
                    <a:gd name="connsiteX85" fmla="*/ 925800 w 1443038"/>
                    <a:gd name="connsiteY85" fmla="*/ 704850 h 1377949"/>
                    <a:gd name="connsiteX86" fmla="*/ 770089 w 1443038"/>
                    <a:gd name="connsiteY86" fmla="*/ 704850 h 1377949"/>
                    <a:gd name="connsiteX87" fmla="*/ 705805 w 1443038"/>
                    <a:gd name="connsiteY87" fmla="*/ 704850 h 1377949"/>
                    <a:gd name="connsiteX88" fmla="*/ 517237 w 1443038"/>
                    <a:gd name="connsiteY88" fmla="*/ 704850 h 1377949"/>
                    <a:gd name="connsiteX89" fmla="*/ 482952 w 1443038"/>
                    <a:gd name="connsiteY89" fmla="*/ 704850 h 1377949"/>
                    <a:gd name="connsiteX90" fmla="*/ 448667 w 1443038"/>
                    <a:gd name="connsiteY90" fmla="*/ 704850 h 1377949"/>
                    <a:gd name="connsiteX91" fmla="*/ 415097 w 1443038"/>
                    <a:gd name="connsiteY91" fmla="*/ 704850 h 1377949"/>
                    <a:gd name="connsiteX92" fmla="*/ 195101 w 1443038"/>
                    <a:gd name="connsiteY92" fmla="*/ 704850 h 1377949"/>
                    <a:gd name="connsiteX93" fmla="*/ 179387 w 1443038"/>
                    <a:gd name="connsiteY93" fmla="*/ 688975 h 1377949"/>
                    <a:gd name="connsiteX94" fmla="*/ 195101 w 1443038"/>
                    <a:gd name="connsiteY94" fmla="*/ 673100 h 1377949"/>
                    <a:gd name="connsiteX95" fmla="*/ 1062037 w 1443038"/>
                    <a:gd name="connsiteY95" fmla="*/ 579437 h 1377949"/>
                    <a:gd name="connsiteX96" fmla="*/ 1062037 w 1443038"/>
                    <a:gd name="connsiteY96" fmla="*/ 581548 h 1377949"/>
                    <a:gd name="connsiteX97" fmla="*/ 1034263 w 1443038"/>
                    <a:gd name="connsiteY97" fmla="*/ 641349 h 1377949"/>
                    <a:gd name="connsiteX98" fmla="*/ 985837 w 1443038"/>
                    <a:gd name="connsiteY98" fmla="*/ 641349 h 1377949"/>
                    <a:gd name="connsiteX99" fmla="*/ 992959 w 1443038"/>
                    <a:gd name="connsiteY99" fmla="*/ 633610 h 1377949"/>
                    <a:gd name="connsiteX100" fmla="*/ 1025718 w 1443038"/>
                    <a:gd name="connsiteY100" fmla="*/ 596322 h 1377949"/>
                    <a:gd name="connsiteX101" fmla="*/ 1062037 w 1443038"/>
                    <a:gd name="connsiteY101" fmla="*/ 579437 h 1377949"/>
                    <a:gd name="connsiteX102" fmla="*/ 381000 w 1443038"/>
                    <a:gd name="connsiteY102" fmla="*/ 579437 h 1377949"/>
                    <a:gd name="connsiteX103" fmla="*/ 417320 w 1443038"/>
                    <a:gd name="connsiteY103" fmla="*/ 596322 h 1377949"/>
                    <a:gd name="connsiteX104" fmla="*/ 450079 w 1443038"/>
                    <a:gd name="connsiteY104" fmla="*/ 633610 h 1377949"/>
                    <a:gd name="connsiteX105" fmla="*/ 457200 w 1443038"/>
                    <a:gd name="connsiteY105" fmla="*/ 641349 h 1377949"/>
                    <a:gd name="connsiteX106" fmla="*/ 408774 w 1443038"/>
                    <a:gd name="connsiteY106" fmla="*/ 641349 h 1377949"/>
                    <a:gd name="connsiteX107" fmla="*/ 381000 w 1443038"/>
                    <a:gd name="connsiteY107" fmla="*/ 582955 h 1377949"/>
                    <a:gd name="connsiteX108" fmla="*/ 381000 w 1443038"/>
                    <a:gd name="connsiteY108" fmla="*/ 579437 h 1377949"/>
                    <a:gd name="connsiteX109" fmla="*/ 1355615 w 1443038"/>
                    <a:gd name="connsiteY109" fmla="*/ 0 h 1377949"/>
                    <a:gd name="connsiteX110" fmla="*/ 1427273 w 1443038"/>
                    <a:gd name="connsiteY110" fmla="*/ 0 h 1377949"/>
                    <a:gd name="connsiteX111" fmla="*/ 1443038 w 1443038"/>
                    <a:gd name="connsiteY111" fmla="*/ 15765 h 1377949"/>
                    <a:gd name="connsiteX112" fmla="*/ 1443038 w 1443038"/>
                    <a:gd name="connsiteY112" fmla="*/ 87422 h 1377949"/>
                    <a:gd name="connsiteX113" fmla="*/ 1427273 w 1443038"/>
                    <a:gd name="connsiteY113" fmla="*/ 103187 h 1377949"/>
                    <a:gd name="connsiteX114" fmla="*/ 1411509 w 1443038"/>
                    <a:gd name="connsiteY114" fmla="*/ 87422 h 1377949"/>
                    <a:gd name="connsiteX115" fmla="*/ 1411509 w 1443038"/>
                    <a:gd name="connsiteY115" fmla="*/ 31529 h 1377949"/>
                    <a:gd name="connsiteX116" fmla="*/ 1355615 w 1443038"/>
                    <a:gd name="connsiteY116" fmla="*/ 31529 h 1377949"/>
                    <a:gd name="connsiteX117" fmla="*/ 1339850 w 1443038"/>
                    <a:gd name="connsiteY117" fmla="*/ 15765 h 1377949"/>
                    <a:gd name="connsiteX118" fmla="*/ 1355615 w 1443038"/>
                    <a:gd name="connsiteY118" fmla="*/ 0 h 1377949"/>
                    <a:gd name="connsiteX119" fmla="*/ 15765 w 1443038"/>
                    <a:gd name="connsiteY119" fmla="*/ 0 h 1377949"/>
                    <a:gd name="connsiteX120" fmla="*/ 87423 w 1443038"/>
                    <a:gd name="connsiteY120" fmla="*/ 0 h 1377949"/>
                    <a:gd name="connsiteX121" fmla="*/ 103188 w 1443038"/>
                    <a:gd name="connsiteY121" fmla="*/ 15765 h 1377949"/>
                    <a:gd name="connsiteX122" fmla="*/ 87423 w 1443038"/>
                    <a:gd name="connsiteY122" fmla="*/ 31529 h 1377949"/>
                    <a:gd name="connsiteX123" fmla="*/ 31529 w 1443038"/>
                    <a:gd name="connsiteY123" fmla="*/ 31529 h 1377949"/>
                    <a:gd name="connsiteX124" fmla="*/ 31529 w 1443038"/>
                    <a:gd name="connsiteY124" fmla="*/ 87422 h 1377949"/>
                    <a:gd name="connsiteX125" fmla="*/ 15765 w 1443038"/>
                    <a:gd name="connsiteY125" fmla="*/ 103187 h 1377949"/>
                    <a:gd name="connsiteX126" fmla="*/ 0 w 1443038"/>
                    <a:gd name="connsiteY126" fmla="*/ 87422 h 1377949"/>
                    <a:gd name="connsiteX127" fmla="*/ 0 w 1443038"/>
                    <a:gd name="connsiteY127" fmla="*/ 15765 h 1377949"/>
                    <a:gd name="connsiteX128" fmla="*/ 15765 w 1443038"/>
                    <a:gd name="connsiteY128" fmla="*/ 0 h 1377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1443038" h="1377949">
                      <a:moveTo>
                        <a:pt x="1427273" y="1274762"/>
                      </a:moveTo>
                      <a:cubicBezTo>
                        <a:pt x="1435872" y="1274762"/>
                        <a:pt x="1443038" y="1281928"/>
                        <a:pt x="1443038" y="1290527"/>
                      </a:cubicBezTo>
                      <a:cubicBezTo>
                        <a:pt x="1443038" y="1290527"/>
                        <a:pt x="1443038" y="1290527"/>
                        <a:pt x="1443038" y="1362184"/>
                      </a:cubicBezTo>
                      <a:cubicBezTo>
                        <a:pt x="1443038" y="1371500"/>
                        <a:pt x="1435872" y="1377949"/>
                        <a:pt x="1427273" y="1377949"/>
                      </a:cubicBezTo>
                      <a:cubicBezTo>
                        <a:pt x="1427273" y="1377949"/>
                        <a:pt x="1427273" y="1377949"/>
                        <a:pt x="1355615" y="1377949"/>
                      </a:cubicBezTo>
                      <a:cubicBezTo>
                        <a:pt x="1347016" y="1377949"/>
                        <a:pt x="1339850" y="1371500"/>
                        <a:pt x="1339850" y="1362184"/>
                      </a:cubicBezTo>
                      <a:cubicBezTo>
                        <a:pt x="1339850" y="1353586"/>
                        <a:pt x="1347016" y="1346420"/>
                        <a:pt x="1355615" y="1346420"/>
                      </a:cubicBezTo>
                      <a:cubicBezTo>
                        <a:pt x="1355615" y="1346420"/>
                        <a:pt x="1355615" y="1346420"/>
                        <a:pt x="1411509" y="1346420"/>
                      </a:cubicBezTo>
                      <a:cubicBezTo>
                        <a:pt x="1411509" y="1346420"/>
                        <a:pt x="1411509" y="1346420"/>
                        <a:pt x="1411509" y="1290527"/>
                      </a:cubicBezTo>
                      <a:cubicBezTo>
                        <a:pt x="1411509" y="1281928"/>
                        <a:pt x="1418674" y="1274762"/>
                        <a:pt x="1427273" y="1274762"/>
                      </a:cubicBezTo>
                      <a:close/>
                      <a:moveTo>
                        <a:pt x="15765" y="1274762"/>
                      </a:moveTo>
                      <a:cubicBezTo>
                        <a:pt x="24364" y="1274762"/>
                        <a:pt x="31529" y="1281928"/>
                        <a:pt x="31529" y="1290527"/>
                      </a:cubicBezTo>
                      <a:cubicBezTo>
                        <a:pt x="31529" y="1290527"/>
                        <a:pt x="31529" y="1290527"/>
                        <a:pt x="31529" y="1346420"/>
                      </a:cubicBezTo>
                      <a:cubicBezTo>
                        <a:pt x="31529" y="1346420"/>
                        <a:pt x="31529" y="1346420"/>
                        <a:pt x="87423" y="1346420"/>
                      </a:cubicBezTo>
                      <a:cubicBezTo>
                        <a:pt x="96022" y="1346420"/>
                        <a:pt x="103188" y="1353586"/>
                        <a:pt x="103188" y="1362184"/>
                      </a:cubicBezTo>
                      <a:cubicBezTo>
                        <a:pt x="103188" y="1371500"/>
                        <a:pt x="96022" y="1377949"/>
                        <a:pt x="87423" y="1377949"/>
                      </a:cubicBezTo>
                      <a:cubicBezTo>
                        <a:pt x="87423" y="1377949"/>
                        <a:pt x="87423" y="1377949"/>
                        <a:pt x="15765" y="1377949"/>
                      </a:cubicBezTo>
                      <a:cubicBezTo>
                        <a:pt x="7166" y="1377949"/>
                        <a:pt x="0" y="1371500"/>
                        <a:pt x="0" y="1362184"/>
                      </a:cubicBezTo>
                      <a:cubicBezTo>
                        <a:pt x="0" y="1362184"/>
                        <a:pt x="0" y="1362184"/>
                        <a:pt x="0" y="1290527"/>
                      </a:cubicBezTo>
                      <a:cubicBezTo>
                        <a:pt x="0" y="1281928"/>
                        <a:pt x="7166" y="1274762"/>
                        <a:pt x="15765" y="1274762"/>
                      </a:cubicBezTo>
                      <a:close/>
                      <a:moveTo>
                        <a:pt x="502474" y="969962"/>
                      </a:moveTo>
                      <a:cubicBezTo>
                        <a:pt x="509612" y="969962"/>
                        <a:pt x="513894" y="969962"/>
                        <a:pt x="513894" y="969962"/>
                      </a:cubicBezTo>
                      <a:cubicBezTo>
                        <a:pt x="513894" y="969962"/>
                        <a:pt x="521032" y="975682"/>
                        <a:pt x="533880" y="986406"/>
                      </a:cubicBezTo>
                      <a:cubicBezTo>
                        <a:pt x="537448" y="989266"/>
                        <a:pt x="541017" y="992126"/>
                        <a:pt x="544586" y="994985"/>
                      </a:cubicBezTo>
                      <a:cubicBezTo>
                        <a:pt x="588839" y="1032163"/>
                        <a:pt x="671635" y="1100083"/>
                        <a:pt x="718030" y="1137261"/>
                      </a:cubicBezTo>
                      <a:cubicBezTo>
                        <a:pt x="720885" y="1138691"/>
                        <a:pt x="724453" y="1138691"/>
                        <a:pt x="726595" y="1136546"/>
                      </a:cubicBezTo>
                      <a:cubicBezTo>
                        <a:pt x="787264" y="1087929"/>
                        <a:pt x="860068" y="1028588"/>
                        <a:pt x="900038" y="994985"/>
                      </a:cubicBezTo>
                      <a:cubicBezTo>
                        <a:pt x="903607" y="992126"/>
                        <a:pt x="907176" y="989266"/>
                        <a:pt x="910745" y="986406"/>
                      </a:cubicBezTo>
                      <a:cubicBezTo>
                        <a:pt x="923592" y="975682"/>
                        <a:pt x="930730" y="969962"/>
                        <a:pt x="930730" y="969962"/>
                      </a:cubicBezTo>
                      <a:cubicBezTo>
                        <a:pt x="930730" y="969962"/>
                        <a:pt x="935013" y="969962"/>
                        <a:pt x="942150" y="969962"/>
                      </a:cubicBezTo>
                      <a:cubicBezTo>
                        <a:pt x="982835" y="971392"/>
                        <a:pt x="1124873" y="978542"/>
                        <a:pt x="1207669" y="1017149"/>
                      </a:cubicBezTo>
                      <a:cubicBezTo>
                        <a:pt x="1286182" y="1052897"/>
                        <a:pt x="1343283" y="1190882"/>
                        <a:pt x="1363268" y="1243789"/>
                      </a:cubicBezTo>
                      <a:cubicBezTo>
                        <a:pt x="1366837" y="1253798"/>
                        <a:pt x="1359700" y="1265237"/>
                        <a:pt x="1348279" y="1265237"/>
                      </a:cubicBezTo>
                      <a:cubicBezTo>
                        <a:pt x="1348279" y="1265237"/>
                        <a:pt x="1348279" y="1265237"/>
                        <a:pt x="96345" y="1265237"/>
                      </a:cubicBezTo>
                      <a:cubicBezTo>
                        <a:pt x="84924" y="1265237"/>
                        <a:pt x="77787" y="1253798"/>
                        <a:pt x="81356" y="1243789"/>
                      </a:cubicBezTo>
                      <a:cubicBezTo>
                        <a:pt x="101341" y="1190882"/>
                        <a:pt x="158442" y="1052897"/>
                        <a:pt x="236956" y="1017149"/>
                      </a:cubicBezTo>
                      <a:cubicBezTo>
                        <a:pt x="319752" y="978542"/>
                        <a:pt x="461790" y="971392"/>
                        <a:pt x="502474" y="969962"/>
                      </a:cubicBezTo>
                      <a:close/>
                      <a:moveTo>
                        <a:pt x="461962" y="736600"/>
                      </a:moveTo>
                      <a:cubicBezTo>
                        <a:pt x="461962" y="736600"/>
                        <a:pt x="461962" y="736600"/>
                        <a:pt x="496284" y="736600"/>
                      </a:cubicBezTo>
                      <a:cubicBezTo>
                        <a:pt x="520595" y="792846"/>
                        <a:pt x="547051" y="846955"/>
                        <a:pt x="559922" y="858347"/>
                      </a:cubicBezTo>
                      <a:cubicBezTo>
                        <a:pt x="562067" y="860483"/>
                        <a:pt x="564927" y="861907"/>
                        <a:pt x="567072" y="864043"/>
                      </a:cubicBezTo>
                      <a:cubicBezTo>
                        <a:pt x="574937" y="870450"/>
                        <a:pt x="584948" y="877570"/>
                        <a:pt x="595673" y="885402"/>
                      </a:cubicBezTo>
                      <a:cubicBezTo>
                        <a:pt x="634285" y="911033"/>
                        <a:pt x="687912" y="938800"/>
                        <a:pt x="721519" y="938800"/>
                      </a:cubicBezTo>
                      <a:cubicBezTo>
                        <a:pt x="755125" y="938800"/>
                        <a:pt x="808753" y="911033"/>
                        <a:pt x="847364" y="885402"/>
                      </a:cubicBezTo>
                      <a:cubicBezTo>
                        <a:pt x="858090" y="877570"/>
                        <a:pt x="868100" y="870450"/>
                        <a:pt x="875966" y="864043"/>
                      </a:cubicBezTo>
                      <a:cubicBezTo>
                        <a:pt x="878111" y="861907"/>
                        <a:pt x="880971" y="860483"/>
                        <a:pt x="883116" y="858347"/>
                      </a:cubicBezTo>
                      <a:cubicBezTo>
                        <a:pt x="895986" y="846955"/>
                        <a:pt x="922443" y="792846"/>
                        <a:pt x="946754" y="736600"/>
                      </a:cubicBezTo>
                      <a:cubicBezTo>
                        <a:pt x="946754" y="736600"/>
                        <a:pt x="946754" y="736600"/>
                        <a:pt x="981075" y="736600"/>
                      </a:cubicBezTo>
                      <a:cubicBezTo>
                        <a:pt x="961769" y="782878"/>
                        <a:pt x="936743" y="835564"/>
                        <a:pt x="918152" y="864043"/>
                      </a:cubicBezTo>
                      <a:cubicBezTo>
                        <a:pt x="915292" y="868315"/>
                        <a:pt x="912432" y="871874"/>
                        <a:pt x="910287" y="874722"/>
                      </a:cubicBezTo>
                      <a:cubicBezTo>
                        <a:pt x="910287" y="874722"/>
                        <a:pt x="910287" y="874722"/>
                        <a:pt x="910287" y="916728"/>
                      </a:cubicBezTo>
                      <a:cubicBezTo>
                        <a:pt x="910287" y="916728"/>
                        <a:pt x="910287" y="916728"/>
                        <a:pt x="910287" y="945919"/>
                      </a:cubicBezTo>
                      <a:cubicBezTo>
                        <a:pt x="908142" y="947343"/>
                        <a:pt x="896701" y="957311"/>
                        <a:pt x="878826" y="971550"/>
                      </a:cubicBezTo>
                      <a:lnTo>
                        <a:pt x="878826" y="939511"/>
                      </a:lnTo>
                      <a:cubicBezTo>
                        <a:pt x="878826" y="939511"/>
                        <a:pt x="878826" y="939511"/>
                        <a:pt x="878826" y="901065"/>
                      </a:cubicBezTo>
                      <a:cubicBezTo>
                        <a:pt x="869530" y="908185"/>
                        <a:pt x="858805" y="915305"/>
                        <a:pt x="847364" y="922424"/>
                      </a:cubicBezTo>
                      <a:cubicBezTo>
                        <a:pt x="807323" y="946631"/>
                        <a:pt x="757985" y="970126"/>
                        <a:pt x="721519" y="970126"/>
                      </a:cubicBezTo>
                      <a:cubicBezTo>
                        <a:pt x="685052" y="970126"/>
                        <a:pt x="635715" y="946631"/>
                        <a:pt x="595673" y="922424"/>
                      </a:cubicBezTo>
                      <a:cubicBezTo>
                        <a:pt x="584233" y="915305"/>
                        <a:pt x="573507" y="908185"/>
                        <a:pt x="564212" y="901065"/>
                      </a:cubicBezTo>
                      <a:cubicBezTo>
                        <a:pt x="564212" y="901065"/>
                        <a:pt x="564212" y="901065"/>
                        <a:pt x="564212" y="939511"/>
                      </a:cubicBezTo>
                      <a:cubicBezTo>
                        <a:pt x="564212" y="939511"/>
                        <a:pt x="564212" y="939511"/>
                        <a:pt x="564212" y="971550"/>
                      </a:cubicBezTo>
                      <a:cubicBezTo>
                        <a:pt x="547051" y="957311"/>
                        <a:pt x="534895" y="947343"/>
                        <a:pt x="532750" y="945919"/>
                      </a:cubicBezTo>
                      <a:cubicBezTo>
                        <a:pt x="532750" y="945919"/>
                        <a:pt x="532750" y="945919"/>
                        <a:pt x="532750" y="916728"/>
                      </a:cubicBezTo>
                      <a:cubicBezTo>
                        <a:pt x="532750" y="916728"/>
                        <a:pt x="532750" y="916728"/>
                        <a:pt x="532750" y="874722"/>
                      </a:cubicBezTo>
                      <a:cubicBezTo>
                        <a:pt x="530605" y="871874"/>
                        <a:pt x="527745" y="868315"/>
                        <a:pt x="524885" y="864043"/>
                      </a:cubicBezTo>
                      <a:cubicBezTo>
                        <a:pt x="506294" y="835564"/>
                        <a:pt x="481268" y="782878"/>
                        <a:pt x="461962" y="736600"/>
                      </a:cubicBezTo>
                      <a:close/>
                      <a:moveTo>
                        <a:pt x="195101" y="673100"/>
                      </a:moveTo>
                      <a:cubicBezTo>
                        <a:pt x="195101" y="673100"/>
                        <a:pt x="195101" y="673100"/>
                        <a:pt x="396526" y="673100"/>
                      </a:cubicBezTo>
                      <a:cubicBezTo>
                        <a:pt x="396526" y="673100"/>
                        <a:pt x="396526" y="673100"/>
                        <a:pt x="435810" y="673100"/>
                      </a:cubicBezTo>
                      <a:cubicBezTo>
                        <a:pt x="435810" y="673100"/>
                        <a:pt x="435810" y="673100"/>
                        <a:pt x="470095" y="673100"/>
                      </a:cubicBezTo>
                      <a:cubicBezTo>
                        <a:pt x="470095" y="673100"/>
                        <a:pt x="470095" y="673100"/>
                        <a:pt x="503666" y="673100"/>
                      </a:cubicBezTo>
                      <a:cubicBezTo>
                        <a:pt x="503666" y="673100"/>
                        <a:pt x="503666" y="673100"/>
                        <a:pt x="679377" y="673100"/>
                      </a:cubicBezTo>
                      <a:cubicBezTo>
                        <a:pt x="679377" y="673100"/>
                        <a:pt x="679377" y="673100"/>
                        <a:pt x="715090" y="673100"/>
                      </a:cubicBezTo>
                      <a:cubicBezTo>
                        <a:pt x="715090" y="673100"/>
                        <a:pt x="715090" y="673100"/>
                        <a:pt x="760804" y="673100"/>
                      </a:cubicBezTo>
                      <a:cubicBezTo>
                        <a:pt x="760804" y="673100"/>
                        <a:pt x="760804" y="673100"/>
                        <a:pt x="795803" y="673100"/>
                      </a:cubicBezTo>
                      <a:cubicBezTo>
                        <a:pt x="795803" y="673100"/>
                        <a:pt x="795803" y="673100"/>
                        <a:pt x="939371" y="673100"/>
                      </a:cubicBezTo>
                      <a:cubicBezTo>
                        <a:pt x="939371" y="673100"/>
                        <a:pt x="939371" y="673100"/>
                        <a:pt x="972942" y="673100"/>
                      </a:cubicBezTo>
                      <a:cubicBezTo>
                        <a:pt x="972942" y="673100"/>
                        <a:pt x="972942" y="673100"/>
                        <a:pt x="1007227" y="673100"/>
                      </a:cubicBezTo>
                      <a:cubicBezTo>
                        <a:pt x="1007227" y="673100"/>
                        <a:pt x="1007227" y="673100"/>
                        <a:pt x="1046512" y="673100"/>
                      </a:cubicBezTo>
                      <a:cubicBezTo>
                        <a:pt x="1046512" y="673100"/>
                        <a:pt x="1046512" y="673100"/>
                        <a:pt x="1247936" y="673100"/>
                      </a:cubicBezTo>
                      <a:cubicBezTo>
                        <a:pt x="1256507" y="673100"/>
                        <a:pt x="1263650" y="680316"/>
                        <a:pt x="1263650" y="688975"/>
                      </a:cubicBezTo>
                      <a:cubicBezTo>
                        <a:pt x="1263650" y="697634"/>
                        <a:pt x="1256507" y="704850"/>
                        <a:pt x="1247936" y="704850"/>
                      </a:cubicBezTo>
                      <a:cubicBezTo>
                        <a:pt x="1247936" y="704850"/>
                        <a:pt x="1247936" y="704850"/>
                        <a:pt x="1027941" y="704850"/>
                      </a:cubicBezTo>
                      <a:cubicBezTo>
                        <a:pt x="1027941" y="704850"/>
                        <a:pt x="1027941" y="704850"/>
                        <a:pt x="994370" y="704850"/>
                      </a:cubicBezTo>
                      <a:cubicBezTo>
                        <a:pt x="994370" y="704850"/>
                        <a:pt x="994370" y="704850"/>
                        <a:pt x="960085" y="704850"/>
                      </a:cubicBezTo>
                      <a:cubicBezTo>
                        <a:pt x="960085" y="704850"/>
                        <a:pt x="960085" y="704850"/>
                        <a:pt x="925800" y="704850"/>
                      </a:cubicBezTo>
                      <a:cubicBezTo>
                        <a:pt x="925800" y="704850"/>
                        <a:pt x="925800" y="704850"/>
                        <a:pt x="770089" y="704850"/>
                      </a:cubicBezTo>
                      <a:cubicBezTo>
                        <a:pt x="770089" y="704850"/>
                        <a:pt x="770089" y="704850"/>
                        <a:pt x="705805" y="704850"/>
                      </a:cubicBezTo>
                      <a:cubicBezTo>
                        <a:pt x="705805" y="704850"/>
                        <a:pt x="705805" y="704850"/>
                        <a:pt x="517237" y="704850"/>
                      </a:cubicBezTo>
                      <a:cubicBezTo>
                        <a:pt x="517237" y="704850"/>
                        <a:pt x="517237" y="704850"/>
                        <a:pt x="482952" y="704850"/>
                      </a:cubicBezTo>
                      <a:cubicBezTo>
                        <a:pt x="482952" y="704850"/>
                        <a:pt x="482952" y="704850"/>
                        <a:pt x="448667" y="704850"/>
                      </a:cubicBezTo>
                      <a:cubicBezTo>
                        <a:pt x="448667" y="704850"/>
                        <a:pt x="448667" y="704850"/>
                        <a:pt x="415097" y="704850"/>
                      </a:cubicBezTo>
                      <a:cubicBezTo>
                        <a:pt x="415097" y="704850"/>
                        <a:pt x="415097" y="704850"/>
                        <a:pt x="195101" y="704850"/>
                      </a:cubicBezTo>
                      <a:cubicBezTo>
                        <a:pt x="186530" y="704850"/>
                        <a:pt x="179387" y="697634"/>
                        <a:pt x="179387" y="688975"/>
                      </a:cubicBezTo>
                      <a:cubicBezTo>
                        <a:pt x="179387" y="680316"/>
                        <a:pt x="186530" y="673100"/>
                        <a:pt x="195101" y="673100"/>
                      </a:cubicBezTo>
                      <a:close/>
                      <a:moveTo>
                        <a:pt x="1062037" y="579437"/>
                      </a:moveTo>
                      <a:cubicBezTo>
                        <a:pt x="1062037" y="580140"/>
                        <a:pt x="1062037" y="580844"/>
                        <a:pt x="1062037" y="581548"/>
                      </a:cubicBezTo>
                      <a:cubicBezTo>
                        <a:pt x="1059901" y="594211"/>
                        <a:pt x="1054204" y="620243"/>
                        <a:pt x="1034263" y="641349"/>
                      </a:cubicBezTo>
                      <a:cubicBezTo>
                        <a:pt x="1034263" y="641349"/>
                        <a:pt x="1034263" y="641349"/>
                        <a:pt x="985837" y="641349"/>
                      </a:cubicBezTo>
                      <a:cubicBezTo>
                        <a:pt x="987262" y="637831"/>
                        <a:pt x="990110" y="635721"/>
                        <a:pt x="992959" y="633610"/>
                      </a:cubicBezTo>
                      <a:cubicBezTo>
                        <a:pt x="1010762" y="625167"/>
                        <a:pt x="1020733" y="609689"/>
                        <a:pt x="1025718" y="596322"/>
                      </a:cubicBezTo>
                      <a:cubicBezTo>
                        <a:pt x="1025718" y="596322"/>
                        <a:pt x="1025718" y="596322"/>
                        <a:pt x="1062037" y="579437"/>
                      </a:cubicBezTo>
                      <a:close/>
                      <a:moveTo>
                        <a:pt x="381000" y="579437"/>
                      </a:moveTo>
                      <a:cubicBezTo>
                        <a:pt x="381000" y="579437"/>
                        <a:pt x="381000" y="579437"/>
                        <a:pt x="417320" y="596322"/>
                      </a:cubicBezTo>
                      <a:cubicBezTo>
                        <a:pt x="422305" y="609689"/>
                        <a:pt x="432275" y="625167"/>
                        <a:pt x="450079" y="633610"/>
                      </a:cubicBezTo>
                      <a:cubicBezTo>
                        <a:pt x="452927" y="635721"/>
                        <a:pt x="455776" y="637831"/>
                        <a:pt x="457200" y="641349"/>
                      </a:cubicBezTo>
                      <a:cubicBezTo>
                        <a:pt x="457200" y="641349"/>
                        <a:pt x="457200" y="641349"/>
                        <a:pt x="408774" y="641349"/>
                      </a:cubicBezTo>
                      <a:cubicBezTo>
                        <a:pt x="390258" y="621650"/>
                        <a:pt x="383849" y="597729"/>
                        <a:pt x="381000" y="582955"/>
                      </a:cubicBezTo>
                      <a:cubicBezTo>
                        <a:pt x="381000" y="582251"/>
                        <a:pt x="381000" y="580844"/>
                        <a:pt x="381000" y="579437"/>
                      </a:cubicBezTo>
                      <a:close/>
                      <a:moveTo>
                        <a:pt x="1355615" y="0"/>
                      </a:moveTo>
                      <a:cubicBezTo>
                        <a:pt x="1355615" y="0"/>
                        <a:pt x="1355615" y="0"/>
                        <a:pt x="1427273" y="0"/>
                      </a:cubicBezTo>
                      <a:cubicBezTo>
                        <a:pt x="1435872" y="0"/>
                        <a:pt x="1443038" y="6449"/>
                        <a:pt x="1443038" y="15765"/>
                      </a:cubicBezTo>
                      <a:cubicBezTo>
                        <a:pt x="1443038" y="15765"/>
                        <a:pt x="1443038" y="15765"/>
                        <a:pt x="1443038" y="87422"/>
                      </a:cubicBezTo>
                      <a:cubicBezTo>
                        <a:pt x="1443038" y="96021"/>
                        <a:pt x="1435872" y="103187"/>
                        <a:pt x="1427273" y="103187"/>
                      </a:cubicBezTo>
                      <a:cubicBezTo>
                        <a:pt x="1418674" y="103187"/>
                        <a:pt x="1411509" y="96021"/>
                        <a:pt x="1411509" y="87422"/>
                      </a:cubicBezTo>
                      <a:cubicBezTo>
                        <a:pt x="1411509" y="87422"/>
                        <a:pt x="1411509" y="87422"/>
                        <a:pt x="1411509" y="31529"/>
                      </a:cubicBezTo>
                      <a:cubicBezTo>
                        <a:pt x="1411509" y="31529"/>
                        <a:pt x="1411509" y="31529"/>
                        <a:pt x="1355615" y="31529"/>
                      </a:cubicBezTo>
                      <a:cubicBezTo>
                        <a:pt x="1347016" y="31529"/>
                        <a:pt x="1339850" y="24363"/>
                        <a:pt x="1339850" y="15765"/>
                      </a:cubicBezTo>
                      <a:cubicBezTo>
                        <a:pt x="1339850" y="6449"/>
                        <a:pt x="1347016" y="0"/>
                        <a:pt x="1355615" y="0"/>
                      </a:cubicBezTo>
                      <a:close/>
                      <a:moveTo>
                        <a:pt x="15765" y="0"/>
                      </a:moveTo>
                      <a:cubicBezTo>
                        <a:pt x="15765" y="0"/>
                        <a:pt x="15765" y="0"/>
                        <a:pt x="87423" y="0"/>
                      </a:cubicBezTo>
                      <a:cubicBezTo>
                        <a:pt x="96022" y="0"/>
                        <a:pt x="103188" y="6449"/>
                        <a:pt x="103188" y="15765"/>
                      </a:cubicBezTo>
                      <a:cubicBezTo>
                        <a:pt x="103188" y="24363"/>
                        <a:pt x="96022" y="31529"/>
                        <a:pt x="87423" y="31529"/>
                      </a:cubicBezTo>
                      <a:cubicBezTo>
                        <a:pt x="87423" y="31529"/>
                        <a:pt x="87423" y="31529"/>
                        <a:pt x="31529" y="31529"/>
                      </a:cubicBezTo>
                      <a:cubicBezTo>
                        <a:pt x="31529" y="31529"/>
                        <a:pt x="31529" y="31529"/>
                        <a:pt x="31529" y="87422"/>
                      </a:cubicBezTo>
                      <a:cubicBezTo>
                        <a:pt x="31529" y="96021"/>
                        <a:pt x="24364" y="103187"/>
                        <a:pt x="15765" y="103187"/>
                      </a:cubicBezTo>
                      <a:cubicBezTo>
                        <a:pt x="7166" y="103187"/>
                        <a:pt x="0" y="96021"/>
                        <a:pt x="0" y="87422"/>
                      </a:cubicBezTo>
                      <a:cubicBezTo>
                        <a:pt x="0" y="87422"/>
                        <a:pt x="0" y="87422"/>
                        <a:pt x="0" y="15765"/>
                      </a:cubicBezTo>
                      <a:cubicBezTo>
                        <a:pt x="0" y="6449"/>
                        <a:pt x="7166" y="0"/>
                        <a:pt x="1576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A609667-AC0A-43EA-84F3-20B80F357E2E}"/>
              </a:ext>
            </a:extLst>
          </p:cNvPr>
          <p:cNvGrpSpPr/>
          <p:nvPr/>
        </p:nvGrpSpPr>
        <p:grpSpPr>
          <a:xfrm>
            <a:off x="-1" y="3856967"/>
            <a:ext cx="3361060" cy="738663"/>
            <a:chOff x="-1" y="4524320"/>
            <a:chExt cx="3361060" cy="738663"/>
          </a:xfrm>
        </p:grpSpPr>
        <p:sp>
          <p:nvSpPr>
            <p:cNvPr id="86" name="Rectangle: Top Corners Rounded 85">
              <a:extLst>
                <a:ext uri="{FF2B5EF4-FFF2-40B4-BE49-F238E27FC236}">
                  <a16:creationId xmlns:a16="http://schemas.microsoft.com/office/drawing/2014/main" id="{F0B5F40D-FA14-4714-8D9C-480D150952FC}"/>
                </a:ext>
              </a:extLst>
            </p:cNvPr>
            <p:cNvSpPr/>
            <p:nvPr/>
          </p:nvSpPr>
          <p:spPr>
            <a:xfrm rot="5400000">
              <a:off x="1311197" y="3213122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0" name="ee4pHeader1">
              <a:extLst>
                <a:ext uri="{FF2B5EF4-FFF2-40B4-BE49-F238E27FC236}">
                  <a16:creationId xmlns:a16="http://schemas.microsoft.com/office/drawing/2014/main" id="{1900F7C8-2A33-4B87-A5E1-8965C19FFCAA}"/>
                </a:ext>
              </a:extLst>
            </p:cNvPr>
            <p:cNvSpPr txBox="1"/>
            <p:nvPr/>
          </p:nvSpPr>
          <p:spPr>
            <a:xfrm>
              <a:off x="288478" y="4616653"/>
              <a:ext cx="2923073" cy="55399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Ejempl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grup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incluíd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1AF14117-6F88-4154-BFF3-2219783A169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94" y="4670465"/>
              <a:ext cx="446374" cy="446374"/>
              <a:chOff x="5273803" y="2606803"/>
              <a:chExt cx="1645920" cy="1645920"/>
            </a:xfrm>
          </p:grpSpPr>
          <p:sp>
            <p:nvSpPr>
              <p:cNvPr id="102" name="AutoShape 23">
                <a:extLst>
                  <a:ext uri="{FF2B5EF4-FFF2-40B4-BE49-F238E27FC236}">
                    <a16:creationId xmlns:a16="http://schemas.microsoft.com/office/drawing/2014/main" id="{7630774B-CB81-479D-9A67-4B2FC9F6E7C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114F7EA7-BB53-4E98-A007-29320C0446B2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104" name="Freeform 25">
                  <a:extLst>
                    <a:ext uri="{FF2B5EF4-FFF2-40B4-BE49-F238E27FC236}">
                      <a16:creationId xmlns:a16="http://schemas.microsoft.com/office/drawing/2014/main" id="{1343874D-15A1-4D14-B928-191F3E20AB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26">
                  <a:extLst>
                    <a:ext uri="{FF2B5EF4-FFF2-40B4-BE49-F238E27FC236}">
                      <a16:creationId xmlns:a16="http://schemas.microsoft.com/office/drawing/2014/main" id="{1F520F48-9F60-4615-8CC9-670C9D4A90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E8F8A99A-CD35-431F-87D4-BD8DC2CCB6B2}"/>
              </a:ext>
            </a:extLst>
          </p:cNvPr>
          <p:cNvCxnSpPr/>
          <p:nvPr/>
        </p:nvCxnSpPr>
        <p:spPr>
          <a:xfrm>
            <a:off x="3450927" y="3711904"/>
            <a:ext cx="8452596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BD4FAB15-8ED9-4540-B46C-5B5344B9EAD5}"/>
              </a:ext>
            </a:extLst>
          </p:cNvPr>
          <p:cNvCxnSpPr/>
          <p:nvPr/>
        </p:nvCxnSpPr>
        <p:spPr>
          <a:xfrm>
            <a:off x="3433824" y="2175285"/>
            <a:ext cx="8452596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2AA3201-C802-4815-A704-B80A7FCAD1F1}"/>
              </a:ext>
            </a:extLst>
          </p:cNvPr>
          <p:cNvGrpSpPr/>
          <p:nvPr/>
        </p:nvGrpSpPr>
        <p:grpSpPr>
          <a:xfrm>
            <a:off x="-1" y="1445447"/>
            <a:ext cx="3361060" cy="738664"/>
            <a:chOff x="-1" y="1445448"/>
            <a:chExt cx="3361060" cy="738664"/>
          </a:xfrm>
        </p:grpSpPr>
        <p:sp>
          <p:nvSpPr>
            <p:cNvPr id="42" name="Rectangle: Top Corners Rounded 41">
              <a:extLst>
                <a:ext uri="{FF2B5EF4-FFF2-40B4-BE49-F238E27FC236}">
                  <a16:creationId xmlns:a16="http://schemas.microsoft.com/office/drawing/2014/main" id="{94F9F637-F582-47FB-A908-5069FF9E0452}"/>
                </a:ext>
              </a:extLst>
            </p:cNvPr>
            <p:cNvSpPr/>
            <p:nvPr/>
          </p:nvSpPr>
          <p:spPr>
            <a:xfrm rot="5400000">
              <a:off x="1311197" y="13425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44" name="ee4pHeader1">
              <a:extLst>
                <a:ext uri="{FF2B5EF4-FFF2-40B4-BE49-F238E27FC236}">
                  <a16:creationId xmlns:a16="http://schemas.microsoft.com/office/drawing/2014/main" id="{B3727ECE-C03E-4231-A9CA-70707E84655F}"/>
                </a:ext>
              </a:extLst>
            </p:cNvPr>
            <p:cNvSpPr txBox="1"/>
            <p:nvPr/>
          </p:nvSpPr>
          <p:spPr>
            <a:xfrm>
              <a:off x="288478" y="1445448"/>
              <a:ext cx="2923073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ctr" anchorCtr="0">
              <a:no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fini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7B9CDE2-4781-4432-BD0E-BAE8A01CF6DA}"/>
              </a:ext>
            </a:extLst>
          </p:cNvPr>
          <p:cNvGrpSpPr>
            <a:grpSpLocks noChangeAspect="1"/>
          </p:cNvGrpSpPr>
          <p:nvPr/>
        </p:nvGrpSpPr>
        <p:grpSpPr>
          <a:xfrm>
            <a:off x="318702" y="1591593"/>
            <a:ext cx="446806" cy="446374"/>
            <a:chOff x="5273675" y="2606675"/>
            <a:chExt cx="1646238" cy="1644650"/>
          </a:xfrm>
        </p:grpSpPr>
        <p:sp>
          <p:nvSpPr>
            <p:cNvPr id="46" name="AutoShape 3">
              <a:extLst>
                <a:ext uri="{FF2B5EF4-FFF2-40B4-BE49-F238E27FC236}">
                  <a16:creationId xmlns:a16="http://schemas.microsoft.com/office/drawing/2014/main" id="{4CDB69C6-FFA2-44C0-9F0B-EB65547D22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C4BDFE8-A893-4107-AF2B-A79C73997B94}"/>
                </a:ext>
              </a:extLst>
            </p:cNvPr>
            <p:cNvGrpSpPr/>
            <p:nvPr/>
          </p:nvGrpSpPr>
          <p:grpSpPr>
            <a:xfrm>
              <a:off x="5651500" y="2971800"/>
              <a:ext cx="892175" cy="1109663"/>
              <a:chOff x="5651500" y="2971800"/>
              <a:chExt cx="892175" cy="1109663"/>
            </a:xfrm>
          </p:grpSpPr>
          <p:sp>
            <p:nvSpPr>
              <p:cNvPr id="48" name="Freeform 20">
                <a:extLst>
                  <a:ext uri="{FF2B5EF4-FFF2-40B4-BE49-F238E27FC236}">
                    <a16:creationId xmlns:a16="http://schemas.microsoft.com/office/drawing/2014/main" id="{C6556554-C8DF-4C73-8075-CBDCFBA53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2971800"/>
                <a:ext cx="892175" cy="1109663"/>
              </a:xfrm>
              <a:custGeom>
                <a:avLst/>
                <a:gdLst>
                  <a:gd name="connsiteX0" fmla="*/ 30163 w 892175"/>
                  <a:gd name="connsiteY0" fmla="*/ 198438 h 1109663"/>
                  <a:gd name="connsiteX1" fmla="*/ 30163 w 892175"/>
                  <a:gd name="connsiteY1" fmla="*/ 1077913 h 1109663"/>
                  <a:gd name="connsiteX2" fmla="*/ 654051 w 892175"/>
                  <a:gd name="connsiteY2" fmla="*/ 1077913 h 1109663"/>
                  <a:gd name="connsiteX3" fmla="*/ 654051 w 892175"/>
                  <a:gd name="connsiteY3" fmla="*/ 942976 h 1109663"/>
                  <a:gd name="connsiteX4" fmla="*/ 654051 w 892175"/>
                  <a:gd name="connsiteY4" fmla="*/ 927101 h 1109663"/>
                  <a:gd name="connsiteX5" fmla="*/ 654051 w 892175"/>
                  <a:gd name="connsiteY5" fmla="*/ 911226 h 1109663"/>
                  <a:gd name="connsiteX6" fmla="*/ 654051 w 892175"/>
                  <a:gd name="connsiteY6" fmla="*/ 198438 h 1109663"/>
                  <a:gd name="connsiteX7" fmla="*/ 238126 w 892175"/>
                  <a:gd name="connsiteY7" fmla="*/ 198438 h 1109663"/>
                  <a:gd name="connsiteX8" fmla="*/ 222251 w 892175"/>
                  <a:gd name="connsiteY8" fmla="*/ 198438 h 1109663"/>
                  <a:gd name="connsiteX9" fmla="*/ 206376 w 892175"/>
                  <a:gd name="connsiteY9" fmla="*/ 198438 h 1109663"/>
                  <a:gd name="connsiteX10" fmla="*/ 238125 w 892175"/>
                  <a:gd name="connsiteY10" fmla="*/ 31750 h 1109663"/>
                  <a:gd name="connsiteX11" fmla="*/ 238125 w 892175"/>
                  <a:gd name="connsiteY11" fmla="*/ 166670 h 1109663"/>
                  <a:gd name="connsiteX12" fmla="*/ 670100 w 892175"/>
                  <a:gd name="connsiteY12" fmla="*/ 166670 h 1109663"/>
                  <a:gd name="connsiteX13" fmla="*/ 685782 w 892175"/>
                  <a:gd name="connsiteY13" fmla="*/ 182375 h 1109663"/>
                  <a:gd name="connsiteX14" fmla="*/ 685782 w 892175"/>
                  <a:gd name="connsiteY14" fmla="*/ 911225 h 1109663"/>
                  <a:gd name="connsiteX15" fmla="*/ 860425 w 892175"/>
                  <a:gd name="connsiteY15" fmla="*/ 911225 h 1109663"/>
                  <a:gd name="connsiteX16" fmla="*/ 860425 w 892175"/>
                  <a:gd name="connsiteY16" fmla="*/ 31750 h 1109663"/>
                  <a:gd name="connsiteX17" fmla="*/ 238125 w 892175"/>
                  <a:gd name="connsiteY17" fmla="*/ 31750 h 1109663"/>
                  <a:gd name="connsiteX18" fmla="*/ 221973 w 892175"/>
                  <a:gd name="connsiteY18" fmla="*/ 0 h 1109663"/>
                  <a:gd name="connsiteX19" fmla="*/ 876473 w 892175"/>
                  <a:gd name="connsiteY19" fmla="*/ 0 h 1109663"/>
                  <a:gd name="connsiteX20" fmla="*/ 892175 w 892175"/>
                  <a:gd name="connsiteY20" fmla="*/ 15720 h 1109663"/>
                  <a:gd name="connsiteX21" fmla="*/ 892175 w 892175"/>
                  <a:gd name="connsiteY21" fmla="*/ 927458 h 1109663"/>
                  <a:gd name="connsiteX22" fmla="*/ 876473 w 892175"/>
                  <a:gd name="connsiteY22" fmla="*/ 943178 h 1109663"/>
                  <a:gd name="connsiteX23" fmla="*/ 685904 w 892175"/>
                  <a:gd name="connsiteY23" fmla="*/ 943178 h 1109663"/>
                  <a:gd name="connsiteX24" fmla="*/ 685904 w 892175"/>
                  <a:gd name="connsiteY24" fmla="*/ 1093944 h 1109663"/>
                  <a:gd name="connsiteX25" fmla="*/ 670202 w 892175"/>
                  <a:gd name="connsiteY25" fmla="*/ 1109663 h 1109663"/>
                  <a:gd name="connsiteX26" fmla="*/ 15703 w 892175"/>
                  <a:gd name="connsiteY26" fmla="*/ 1109663 h 1109663"/>
                  <a:gd name="connsiteX27" fmla="*/ 0 w 892175"/>
                  <a:gd name="connsiteY27" fmla="*/ 1093944 h 1109663"/>
                  <a:gd name="connsiteX28" fmla="*/ 0 w 892175"/>
                  <a:gd name="connsiteY28" fmla="*/ 182205 h 1109663"/>
                  <a:gd name="connsiteX29" fmla="*/ 15703 w 892175"/>
                  <a:gd name="connsiteY29" fmla="*/ 166485 h 1109663"/>
                  <a:gd name="connsiteX30" fmla="*/ 206271 w 892175"/>
                  <a:gd name="connsiteY30" fmla="*/ 166485 h 1109663"/>
                  <a:gd name="connsiteX31" fmla="*/ 206271 w 892175"/>
                  <a:gd name="connsiteY31" fmla="*/ 15720 h 1109663"/>
                  <a:gd name="connsiteX32" fmla="*/ 221973 w 892175"/>
                  <a:gd name="connsiteY32" fmla="*/ 0 h 110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92175" h="1109663">
                    <a:moveTo>
                      <a:pt x="30163" y="198438"/>
                    </a:moveTo>
                    <a:lnTo>
                      <a:pt x="30163" y="1077913"/>
                    </a:lnTo>
                    <a:lnTo>
                      <a:pt x="654051" y="1077913"/>
                    </a:lnTo>
                    <a:lnTo>
                      <a:pt x="654051" y="942976"/>
                    </a:lnTo>
                    <a:lnTo>
                      <a:pt x="654051" y="927101"/>
                    </a:lnTo>
                    <a:lnTo>
                      <a:pt x="654051" y="911226"/>
                    </a:lnTo>
                    <a:lnTo>
                      <a:pt x="654051" y="198438"/>
                    </a:lnTo>
                    <a:lnTo>
                      <a:pt x="238126" y="198438"/>
                    </a:lnTo>
                    <a:lnTo>
                      <a:pt x="222251" y="198438"/>
                    </a:lnTo>
                    <a:lnTo>
                      <a:pt x="206376" y="198438"/>
                    </a:lnTo>
                    <a:close/>
                    <a:moveTo>
                      <a:pt x="238125" y="31750"/>
                    </a:moveTo>
                    <a:lnTo>
                      <a:pt x="238125" y="166670"/>
                    </a:lnTo>
                    <a:cubicBezTo>
                      <a:pt x="238125" y="166670"/>
                      <a:pt x="238125" y="166670"/>
                      <a:pt x="670100" y="166670"/>
                    </a:cubicBezTo>
                    <a:cubicBezTo>
                      <a:pt x="678654" y="166670"/>
                      <a:pt x="685782" y="173808"/>
                      <a:pt x="685782" y="182375"/>
                    </a:cubicBezTo>
                    <a:cubicBezTo>
                      <a:pt x="685782" y="182375"/>
                      <a:pt x="685782" y="182375"/>
                      <a:pt x="685782" y="911225"/>
                    </a:cubicBezTo>
                    <a:cubicBezTo>
                      <a:pt x="685782" y="911225"/>
                      <a:pt x="685782" y="911225"/>
                      <a:pt x="860425" y="911225"/>
                    </a:cubicBezTo>
                    <a:cubicBezTo>
                      <a:pt x="860425" y="911225"/>
                      <a:pt x="860425" y="911225"/>
                      <a:pt x="860425" y="31750"/>
                    </a:cubicBezTo>
                    <a:cubicBezTo>
                      <a:pt x="860425" y="31750"/>
                      <a:pt x="860425" y="31750"/>
                      <a:pt x="238125" y="31750"/>
                    </a:cubicBezTo>
                    <a:close/>
                    <a:moveTo>
                      <a:pt x="221973" y="0"/>
                    </a:moveTo>
                    <a:cubicBezTo>
                      <a:pt x="221973" y="0"/>
                      <a:pt x="221973" y="0"/>
                      <a:pt x="876473" y="0"/>
                    </a:cubicBezTo>
                    <a:cubicBezTo>
                      <a:pt x="885752" y="0"/>
                      <a:pt x="892175" y="7145"/>
                      <a:pt x="892175" y="15720"/>
                    </a:cubicBezTo>
                    <a:cubicBezTo>
                      <a:pt x="892175" y="15720"/>
                      <a:pt x="892175" y="15720"/>
                      <a:pt x="892175" y="927458"/>
                    </a:cubicBezTo>
                    <a:cubicBezTo>
                      <a:pt x="892175" y="936033"/>
                      <a:pt x="885752" y="943178"/>
                      <a:pt x="876473" y="943178"/>
                    </a:cubicBezTo>
                    <a:cubicBezTo>
                      <a:pt x="876473" y="943178"/>
                      <a:pt x="876473" y="943178"/>
                      <a:pt x="685904" y="943178"/>
                    </a:cubicBezTo>
                    <a:cubicBezTo>
                      <a:pt x="685904" y="943178"/>
                      <a:pt x="685904" y="943178"/>
                      <a:pt x="685904" y="1093944"/>
                    </a:cubicBezTo>
                    <a:cubicBezTo>
                      <a:pt x="685904" y="1102518"/>
                      <a:pt x="678767" y="1109663"/>
                      <a:pt x="670202" y="1109663"/>
                    </a:cubicBezTo>
                    <a:cubicBezTo>
                      <a:pt x="670202" y="1109663"/>
                      <a:pt x="670202" y="1109663"/>
                      <a:pt x="15703" y="1109663"/>
                    </a:cubicBezTo>
                    <a:cubicBezTo>
                      <a:pt x="6424" y="1109663"/>
                      <a:pt x="0" y="1102518"/>
                      <a:pt x="0" y="1093944"/>
                    </a:cubicBezTo>
                    <a:cubicBezTo>
                      <a:pt x="0" y="1093944"/>
                      <a:pt x="0" y="1093944"/>
                      <a:pt x="0" y="182205"/>
                    </a:cubicBezTo>
                    <a:cubicBezTo>
                      <a:pt x="0" y="173631"/>
                      <a:pt x="6424" y="166485"/>
                      <a:pt x="15703" y="166485"/>
                    </a:cubicBezTo>
                    <a:cubicBezTo>
                      <a:pt x="15703" y="166485"/>
                      <a:pt x="15703" y="166485"/>
                      <a:pt x="206271" y="166485"/>
                    </a:cubicBezTo>
                    <a:cubicBezTo>
                      <a:pt x="206271" y="166485"/>
                      <a:pt x="206271" y="166485"/>
                      <a:pt x="206271" y="15720"/>
                    </a:cubicBezTo>
                    <a:cubicBezTo>
                      <a:pt x="206271" y="7145"/>
                      <a:pt x="213409" y="0"/>
                      <a:pt x="2219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21">
                <a:extLst>
                  <a:ext uri="{FF2B5EF4-FFF2-40B4-BE49-F238E27FC236}">
                    <a16:creationId xmlns:a16="http://schemas.microsoft.com/office/drawing/2014/main" id="{02D2ECE1-C586-415E-8F4A-74E0EB0E3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88" y="3287713"/>
                <a:ext cx="454025" cy="646113"/>
              </a:xfrm>
              <a:custGeom>
                <a:avLst/>
                <a:gdLst>
                  <a:gd name="connsiteX0" fmla="*/ 15681 w 454025"/>
                  <a:gd name="connsiteY0" fmla="*/ 615950 h 646113"/>
                  <a:gd name="connsiteX1" fmla="*/ 91233 w 454025"/>
                  <a:gd name="connsiteY1" fmla="*/ 615950 h 646113"/>
                  <a:gd name="connsiteX2" fmla="*/ 439057 w 454025"/>
                  <a:gd name="connsiteY2" fmla="*/ 615950 h 646113"/>
                  <a:gd name="connsiteX3" fmla="*/ 453312 w 454025"/>
                  <a:gd name="connsiteY3" fmla="*/ 626472 h 646113"/>
                  <a:gd name="connsiteX4" fmla="*/ 454025 w 454025"/>
                  <a:gd name="connsiteY4" fmla="*/ 631382 h 646113"/>
                  <a:gd name="connsiteX5" fmla="*/ 454025 w 454025"/>
                  <a:gd name="connsiteY5" fmla="*/ 632785 h 646113"/>
                  <a:gd name="connsiteX6" fmla="*/ 444047 w 454025"/>
                  <a:gd name="connsiteY6" fmla="*/ 645412 h 646113"/>
                  <a:gd name="connsiteX7" fmla="*/ 442621 w 454025"/>
                  <a:gd name="connsiteY7" fmla="*/ 646113 h 646113"/>
                  <a:gd name="connsiteX8" fmla="*/ 441908 w 454025"/>
                  <a:gd name="connsiteY8" fmla="*/ 646113 h 646113"/>
                  <a:gd name="connsiteX9" fmla="*/ 439057 w 454025"/>
                  <a:gd name="connsiteY9" fmla="*/ 646113 h 646113"/>
                  <a:gd name="connsiteX10" fmla="*/ 15681 w 454025"/>
                  <a:gd name="connsiteY10" fmla="*/ 646113 h 646113"/>
                  <a:gd name="connsiteX11" fmla="*/ 14968 w 454025"/>
                  <a:gd name="connsiteY11" fmla="*/ 646113 h 646113"/>
                  <a:gd name="connsiteX12" fmla="*/ 0 w 454025"/>
                  <a:gd name="connsiteY12" fmla="*/ 631382 h 646113"/>
                  <a:gd name="connsiteX13" fmla="*/ 15681 w 454025"/>
                  <a:gd name="connsiteY13" fmla="*/ 615950 h 646113"/>
                  <a:gd name="connsiteX14" fmla="*/ 15681 w 454025"/>
                  <a:gd name="connsiteY14" fmla="*/ 512762 h 646113"/>
                  <a:gd name="connsiteX15" fmla="*/ 90520 w 454025"/>
                  <a:gd name="connsiteY15" fmla="*/ 512762 h 646113"/>
                  <a:gd name="connsiteX16" fmla="*/ 106201 w 454025"/>
                  <a:gd name="connsiteY16" fmla="*/ 512762 h 646113"/>
                  <a:gd name="connsiteX17" fmla="*/ 121881 w 454025"/>
                  <a:gd name="connsiteY17" fmla="*/ 512762 h 646113"/>
                  <a:gd name="connsiteX18" fmla="*/ 439057 w 454025"/>
                  <a:gd name="connsiteY18" fmla="*/ 512762 h 646113"/>
                  <a:gd name="connsiteX19" fmla="*/ 454025 w 454025"/>
                  <a:gd name="connsiteY19" fmla="*/ 528637 h 646113"/>
                  <a:gd name="connsiteX20" fmla="*/ 454025 w 454025"/>
                  <a:gd name="connsiteY20" fmla="*/ 531523 h 646113"/>
                  <a:gd name="connsiteX21" fmla="*/ 453312 w 454025"/>
                  <a:gd name="connsiteY21" fmla="*/ 532967 h 646113"/>
                  <a:gd name="connsiteX22" fmla="*/ 453312 w 454025"/>
                  <a:gd name="connsiteY22" fmla="*/ 533688 h 646113"/>
                  <a:gd name="connsiteX23" fmla="*/ 444047 w 454025"/>
                  <a:gd name="connsiteY23" fmla="*/ 543791 h 646113"/>
                  <a:gd name="connsiteX24" fmla="*/ 443334 w 454025"/>
                  <a:gd name="connsiteY24" fmla="*/ 543791 h 646113"/>
                  <a:gd name="connsiteX25" fmla="*/ 441908 w 454025"/>
                  <a:gd name="connsiteY25" fmla="*/ 544512 h 646113"/>
                  <a:gd name="connsiteX26" fmla="*/ 439057 w 454025"/>
                  <a:gd name="connsiteY26" fmla="*/ 544512 h 646113"/>
                  <a:gd name="connsiteX27" fmla="*/ 121881 w 454025"/>
                  <a:gd name="connsiteY27" fmla="*/ 544512 h 646113"/>
                  <a:gd name="connsiteX28" fmla="*/ 106201 w 454025"/>
                  <a:gd name="connsiteY28" fmla="*/ 544512 h 646113"/>
                  <a:gd name="connsiteX29" fmla="*/ 90520 w 454025"/>
                  <a:gd name="connsiteY29" fmla="*/ 544512 h 646113"/>
                  <a:gd name="connsiteX30" fmla="*/ 15681 w 454025"/>
                  <a:gd name="connsiteY30" fmla="*/ 544512 h 646113"/>
                  <a:gd name="connsiteX31" fmla="*/ 0 w 454025"/>
                  <a:gd name="connsiteY31" fmla="*/ 528637 h 646113"/>
                  <a:gd name="connsiteX32" fmla="*/ 15681 w 454025"/>
                  <a:gd name="connsiteY32" fmla="*/ 512762 h 646113"/>
                  <a:gd name="connsiteX33" fmla="*/ 15681 w 454025"/>
                  <a:gd name="connsiteY33" fmla="*/ 411162 h 646113"/>
                  <a:gd name="connsiteX34" fmla="*/ 90520 w 454025"/>
                  <a:gd name="connsiteY34" fmla="*/ 411162 h 646113"/>
                  <a:gd name="connsiteX35" fmla="*/ 106201 w 454025"/>
                  <a:gd name="connsiteY35" fmla="*/ 411162 h 646113"/>
                  <a:gd name="connsiteX36" fmla="*/ 121881 w 454025"/>
                  <a:gd name="connsiteY36" fmla="*/ 411162 h 646113"/>
                  <a:gd name="connsiteX37" fmla="*/ 439057 w 454025"/>
                  <a:gd name="connsiteY37" fmla="*/ 411162 h 646113"/>
                  <a:gd name="connsiteX38" fmla="*/ 454025 w 454025"/>
                  <a:gd name="connsiteY38" fmla="*/ 426594 h 646113"/>
                  <a:gd name="connsiteX39" fmla="*/ 439057 w 454025"/>
                  <a:gd name="connsiteY39" fmla="*/ 441325 h 646113"/>
                  <a:gd name="connsiteX40" fmla="*/ 121881 w 454025"/>
                  <a:gd name="connsiteY40" fmla="*/ 441325 h 646113"/>
                  <a:gd name="connsiteX41" fmla="*/ 106201 w 454025"/>
                  <a:gd name="connsiteY41" fmla="*/ 441325 h 646113"/>
                  <a:gd name="connsiteX42" fmla="*/ 90520 w 454025"/>
                  <a:gd name="connsiteY42" fmla="*/ 441325 h 646113"/>
                  <a:gd name="connsiteX43" fmla="*/ 15681 w 454025"/>
                  <a:gd name="connsiteY43" fmla="*/ 441325 h 646113"/>
                  <a:gd name="connsiteX44" fmla="*/ 0 w 454025"/>
                  <a:gd name="connsiteY44" fmla="*/ 426594 h 646113"/>
                  <a:gd name="connsiteX45" fmla="*/ 15681 w 454025"/>
                  <a:gd name="connsiteY45" fmla="*/ 411162 h 646113"/>
                  <a:gd name="connsiteX46" fmla="*/ 15681 w 454025"/>
                  <a:gd name="connsiteY46" fmla="*/ 307975 h 646113"/>
                  <a:gd name="connsiteX47" fmla="*/ 90520 w 454025"/>
                  <a:gd name="connsiteY47" fmla="*/ 307975 h 646113"/>
                  <a:gd name="connsiteX48" fmla="*/ 106201 w 454025"/>
                  <a:gd name="connsiteY48" fmla="*/ 307975 h 646113"/>
                  <a:gd name="connsiteX49" fmla="*/ 121881 w 454025"/>
                  <a:gd name="connsiteY49" fmla="*/ 307975 h 646113"/>
                  <a:gd name="connsiteX50" fmla="*/ 439057 w 454025"/>
                  <a:gd name="connsiteY50" fmla="*/ 307975 h 646113"/>
                  <a:gd name="connsiteX51" fmla="*/ 454025 w 454025"/>
                  <a:gd name="connsiteY51" fmla="*/ 323057 h 646113"/>
                  <a:gd name="connsiteX52" fmla="*/ 439057 w 454025"/>
                  <a:gd name="connsiteY52" fmla="*/ 338138 h 646113"/>
                  <a:gd name="connsiteX53" fmla="*/ 121881 w 454025"/>
                  <a:gd name="connsiteY53" fmla="*/ 338138 h 646113"/>
                  <a:gd name="connsiteX54" fmla="*/ 106201 w 454025"/>
                  <a:gd name="connsiteY54" fmla="*/ 338138 h 646113"/>
                  <a:gd name="connsiteX55" fmla="*/ 90520 w 454025"/>
                  <a:gd name="connsiteY55" fmla="*/ 338138 h 646113"/>
                  <a:gd name="connsiteX56" fmla="*/ 15681 w 454025"/>
                  <a:gd name="connsiteY56" fmla="*/ 338138 h 646113"/>
                  <a:gd name="connsiteX57" fmla="*/ 0 w 454025"/>
                  <a:gd name="connsiteY57" fmla="*/ 323057 h 646113"/>
                  <a:gd name="connsiteX58" fmla="*/ 15681 w 454025"/>
                  <a:gd name="connsiteY58" fmla="*/ 307975 h 646113"/>
                  <a:gd name="connsiteX59" fmla="*/ 15681 w 454025"/>
                  <a:gd name="connsiteY59" fmla="*/ 204787 h 646113"/>
                  <a:gd name="connsiteX60" fmla="*/ 90520 w 454025"/>
                  <a:gd name="connsiteY60" fmla="*/ 204787 h 646113"/>
                  <a:gd name="connsiteX61" fmla="*/ 106201 w 454025"/>
                  <a:gd name="connsiteY61" fmla="*/ 204787 h 646113"/>
                  <a:gd name="connsiteX62" fmla="*/ 121881 w 454025"/>
                  <a:gd name="connsiteY62" fmla="*/ 204787 h 646113"/>
                  <a:gd name="connsiteX63" fmla="*/ 439057 w 454025"/>
                  <a:gd name="connsiteY63" fmla="*/ 204787 h 646113"/>
                  <a:gd name="connsiteX64" fmla="*/ 454025 w 454025"/>
                  <a:gd name="connsiteY64" fmla="*/ 220219 h 646113"/>
                  <a:gd name="connsiteX65" fmla="*/ 439057 w 454025"/>
                  <a:gd name="connsiteY65" fmla="*/ 234950 h 646113"/>
                  <a:gd name="connsiteX66" fmla="*/ 121881 w 454025"/>
                  <a:gd name="connsiteY66" fmla="*/ 234950 h 646113"/>
                  <a:gd name="connsiteX67" fmla="*/ 106201 w 454025"/>
                  <a:gd name="connsiteY67" fmla="*/ 234950 h 646113"/>
                  <a:gd name="connsiteX68" fmla="*/ 90520 w 454025"/>
                  <a:gd name="connsiteY68" fmla="*/ 234950 h 646113"/>
                  <a:gd name="connsiteX69" fmla="*/ 15681 w 454025"/>
                  <a:gd name="connsiteY69" fmla="*/ 234950 h 646113"/>
                  <a:gd name="connsiteX70" fmla="*/ 0 w 454025"/>
                  <a:gd name="connsiteY70" fmla="*/ 220219 h 646113"/>
                  <a:gd name="connsiteX71" fmla="*/ 15681 w 454025"/>
                  <a:gd name="connsiteY71" fmla="*/ 204787 h 646113"/>
                  <a:gd name="connsiteX72" fmla="*/ 15681 w 454025"/>
                  <a:gd name="connsiteY72" fmla="*/ 101600 h 646113"/>
                  <a:gd name="connsiteX73" fmla="*/ 90520 w 454025"/>
                  <a:gd name="connsiteY73" fmla="*/ 101600 h 646113"/>
                  <a:gd name="connsiteX74" fmla="*/ 106201 w 454025"/>
                  <a:gd name="connsiteY74" fmla="*/ 101600 h 646113"/>
                  <a:gd name="connsiteX75" fmla="*/ 121881 w 454025"/>
                  <a:gd name="connsiteY75" fmla="*/ 101600 h 646113"/>
                  <a:gd name="connsiteX76" fmla="*/ 439057 w 454025"/>
                  <a:gd name="connsiteY76" fmla="*/ 101600 h 646113"/>
                  <a:gd name="connsiteX77" fmla="*/ 454025 w 454025"/>
                  <a:gd name="connsiteY77" fmla="*/ 117475 h 646113"/>
                  <a:gd name="connsiteX78" fmla="*/ 439057 w 454025"/>
                  <a:gd name="connsiteY78" fmla="*/ 133350 h 646113"/>
                  <a:gd name="connsiteX79" fmla="*/ 121881 w 454025"/>
                  <a:gd name="connsiteY79" fmla="*/ 133350 h 646113"/>
                  <a:gd name="connsiteX80" fmla="*/ 106201 w 454025"/>
                  <a:gd name="connsiteY80" fmla="*/ 133350 h 646113"/>
                  <a:gd name="connsiteX81" fmla="*/ 90520 w 454025"/>
                  <a:gd name="connsiteY81" fmla="*/ 133350 h 646113"/>
                  <a:gd name="connsiteX82" fmla="*/ 15681 w 454025"/>
                  <a:gd name="connsiteY82" fmla="*/ 133350 h 646113"/>
                  <a:gd name="connsiteX83" fmla="*/ 0 w 454025"/>
                  <a:gd name="connsiteY83" fmla="*/ 117475 h 646113"/>
                  <a:gd name="connsiteX84" fmla="*/ 15681 w 454025"/>
                  <a:gd name="connsiteY84" fmla="*/ 101600 h 646113"/>
                  <a:gd name="connsiteX85" fmla="*/ 15681 w 454025"/>
                  <a:gd name="connsiteY85" fmla="*/ 0 h 646113"/>
                  <a:gd name="connsiteX86" fmla="*/ 90520 w 454025"/>
                  <a:gd name="connsiteY86" fmla="*/ 0 h 646113"/>
                  <a:gd name="connsiteX87" fmla="*/ 106201 w 454025"/>
                  <a:gd name="connsiteY87" fmla="*/ 0 h 646113"/>
                  <a:gd name="connsiteX88" fmla="*/ 121881 w 454025"/>
                  <a:gd name="connsiteY88" fmla="*/ 0 h 646113"/>
                  <a:gd name="connsiteX89" fmla="*/ 439057 w 454025"/>
                  <a:gd name="connsiteY89" fmla="*/ 0 h 646113"/>
                  <a:gd name="connsiteX90" fmla="*/ 454025 w 454025"/>
                  <a:gd name="connsiteY90" fmla="*/ 15432 h 646113"/>
                  <a:gd name="connsiteX91" fmla="*/ 439057 w 454025"/>
                  <a:gd name="connsiteY91" fmla="*/ 30163 h 646113"/>
                  <a:gd name="connsiteX92" fmla="*/ 121881 w 454025"/>
                  <a:gd name="connsiteY92" fmla="*/ 30163 h 646113"/>
                  <a:gd name="connsiteX93" fmla="*/ 106201 w 454025"/>
                  <a:gd name="connsiteY93" fmla="*/ 30163 h 646113"/>
                  <a:gd name="connsiteX94" fmla="*/ 90520 w 454025"/>
                  <a:gd name="connsiteY94" fmla="*/ 30163 h 646113"/>
                  <a:gd name="connsiteX95" fmla="*/ 15681 w 454025"/>
                  <a:gd name="connsiteY95" fmla="*/ 30163 h 646113"/>
                  <a:gd name="connsiteX96" fmla="*/ 0 w 454025"/>
                  <a:gd name="connsiteY96" fmla="*/ 15432 h 646113"/>
                  <a:gd name="connsiteX97" fmla="*/ 15681 w 454025"/>
                  <a:gd name="connsiteY97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454025" h="646113">
                    <a:moveTo>
                      <a:pt x="15681" y="615950"/>
                    </a:moveTo>
                    <a:cubicBezTo>
                      <a:pt x="42766" y="615950"/>
                      <a:pt x="67712" y="615950"/>
                      <a:pt x="91233" y="615950"/>
                    </a:cubicBezTo>
                    <a:cubicBezTo>
                      <a:pt x="439057" y="615950"/>
                      <a:pt x="439057" y="615950"/>
                      <a:pt x="439057" y="615950"/>
                    </a:cubicBezTo>
                    <a:cubicBezTo>
                      <a:pt x="446185" y="615950"/>
                      <a:pt x="451887" y="620159"/>
                      <a:pt x="453312" y="626472"/>
                    </a:cubicBezTo>
                    <a:cubicBezTo>
                      <a:pt x="454025" y="627875"/>
                      <a:pt x="454025" y="629278"/>
                      <a:pt x="454025" y="631382"/>
                    </a:cubicBezTo>
                    <a:cubicBezTo>
                      <a:pt x="454025" y="632084"/>
                      <a:pt x="454025" y="632084"/>
                      <a:pt x="454025" y="632785"/>
                    </a:cubicBezTo>
                    <a:cubicBezTo>
                      <a:pt x="453312" y="638397"/>
                      <a:pt x="449749" y="643307"/>
                      <a:pt x="444047" y="645412"/>
                    </a:cubicBezTo>
                    <a:cubicBezTo>
                      <a:pt x="444047" y="645412"/>
                      <a:pt x="443334" y="646113"/>
                      <a:pt x="442621" y="646113"/>
                    </a:cubicBezTo>
                    <a:cubicBezTo>
                      <a:pt x="442621" y="646113"/>
                      <a:pt x="441908" y="646113"/>
                      <a:pt x="441908" y="646113"/>
                    </a:cubicBezTo>
                    <a:cubicBezTo>
                      <a:pt x="441196" y="646113"/>
                      <a:pt x="439770" y="646113"/>
                      <a:pt x="439057" y="646113"/>
                    </a:cubicBezTo>
                    <a:cubicBezTo>
                      <a:pt x="15681" y="646113"/>
                      <a:pt x="15681" y="646113"/>
                      <a:pt x="15681" y="646113"/>
                    </a:cubicBezTo>
                    <a:cubicBezTo>
                      <a:pt x="15681" y="646113"/>
                      <a:pt x="14968" y="646113"/>
                      <a:pt x="14968" y="646113"/>
                    </a:cubicBezTo>
                    <a:cubicBezTo>
                      <a:pt x="7128" y="646113"/>
                      <a:pt x="713" y="639800"/>
                      <a:pt x="0" y="631382"/>
                    </a:cubicBezTo>
                    <a:cubicBezTo>
                      <a:pt x="0" y="622965"/>
                      <a:pt x="7128" y="615950"/>
                      <a:pt x="15681" y="615950"/>
                    </a:cubicBezTo>
                    <a:close/>
                    <a:moveTo>
                      <a:pt x="15681" y="512762"/>
                    </a:moveTo>
                    <a:cubicBezTo>
                      <a:pt x="42053" y="512762"/>
                      <a:pt x="67712" y="512762"/>
                      <a:pt x="90520" y="512762"/>
                    </a:cubicBezTo>
                    <a:cubicBezTo>
                      <a:pt x="96222" y="512762"/>
                      <a:pt x="101211" y="512762"/>
                      <a:pt x="106201" y="512762"/>
                    </a:cubicBezTo>
                    <a:cubicBezTo>
                      <a:pt x="111903" y="512762"/>
                      <a:pt x="116892" y="512762"/>
                      <a:pt x="121881" y="512762"/>
                    </a:cubicBezTo>
                    <a:cubicBezTo>
                      <a:pt x="439057" y="512762"/>
                      <a:pt x="439057" y="512762"/>
                      <a:pt x="439057" y="512762"/>
                    </a:cubicBezTo>
                    <a:cubicBezTo>
                      <a:pt x="447610" y="512762"/>
                      <a:pt x="454025" y="519978"/>
                      <a:pt x="454025" y="528637"/>
                    </a:cubicBezTo>
                    <a:cubicBezTo>
                      <a:pt x="454025" y="530080"/>
                      <a:pt x="454025" y="530802"/>
                      <a:pt x="454025" y="531523"/>
                    </a:cubicBezTo>
                    <a:cubicBezTo>
                      <a:pt x="454025" y="532245"/>
                      <a:pt x="454025" y="532967"/>
                      <a:pt x="453312" y="532967"/>
                    </a:cubicBezTo>
                    <a:cubicBezTo>
                      <a:pt x="453312" y="533688"/>
                      <a:pt x="453312" y="533688"/>
                      <a:pt x="453312" y="533688"/>
                    </a:cubicBezTo>
                    <a:cubicBezTo>
                      <a:pt x="451887" y="538739"/>
                      <a:pt x="449036" y="542347"/>
                      <a:pt x="444047" y="543791"/>
                    </a:cubicBezTo>
                    <a:cubicBezTo>
                      <a:pt x="443334" y="543791"/>
                      <a:pt x="443334" y="543791"/>
                      <a:pt x="443334" y="543791"/>
                    </a:cubicBezTo>
                    <a:cubicBezTo>
                      <a:pt x="442621" y="543791"/>
                      <a:pt x="441908" y="543791"/>
                      <a:pt x="441908" y="544512"/>
                    </a:cubicBezTo>
                    <a:cubicBezTo>
                      <a:pt x="440483" y="544512"/>
                      <a:pt x="439770" y="544512"/>
                      <a:pt x="439057" y="544512"/>
                    </a:cubicBezTo>
                    <a:cubicBezTo>
                      <a:pt x="282964" y="544512"/>
                      <a:pt x="184604" y="544512"/>
                      <a:pt x="121881" y="544512"/>
                    </a:cubicBezTo>
                    <a:cubicBezTo>
                      <a:pt x="116892" y="544512"/>
                      <a:pt x="111190" y="544512"/>
                      <a:pt x="106201" y="544512"/>
                    </a:cubicBezTo>
                    <a:cubicBezTo>
                      <a:pt x="101211" y="544512"/>
                      <a:pt x="95509" y="544512"/>
                      <a:pt x="90520" y="544512"/>
                    </a:cubicBezTo>
                    <a:cubicBezTo>
                      <a:pt x="15681" y="544512"/>
                      <a:pt x="15681" y="544512"/>
                      <a:pt x="15681" y="544512"/>
                    </a:cubicBezTo>
                    <a:cubicBezTo>
                      <a:pt x="7128" y="544512"/>
                      <a:pt x="0" y="538018"/>
                      <a:pt x="0" y="528637"/>
                    </a:cubicBezTo>
                    <a:cubicBezTo>
                      <a:pt x="0" y="519978"/>
                      <a:pt x="7128" y="512762"/>
                      <a:pt x="15681" y="512762"/>
                    </a:cubicBezTo>
                    <a:close/>
                    <a:moveTo>
                      <a:pt x="15681" y="411162"/>
                    </a:moveTo>
                    <a:cubicBezTo>
                      <a:pt x="42053" y="411162"/>
                      <a:pt x="67712" y="411162"/>
                      <a:pt x="90520" y="411162"/>
                    </a:cubicBezTo>
                    <a:cubicBezTo>
                      <a:pt x="96222" y="411162"/>
                      <a:pt x="101211" y="411162"/>
                      <a:pt x="106201" y="411162"/>
                    </a:cubicBezTo>
                    <a:cubicBezTo>
                      <a:pt x="111903" y="411162"/>
                      <a:pt x="116892" y="411162"/>
                      <a:pt x="121881" y="411162"/>
                    </a:cubicBezTo>
                    <a:cubicBezTo>
                      <a:pt x="439057" y="411162"/>
                      <a:pt x="439057" y="411162"/>
                      <a:pt x="439057" y="411162"/>
                    </a:cubicBezTo>
                    <a:cubicBezTo>
                      <a:pt x="447610" y="411162"/>
                      <a:pt x="454025" y="418177"/>
                      <a:pt x="454025" y="426594"/>
                    </a:cubicBezTo>
                    <a:cubicBezTo>
                      <a:pt x="454025" y="435012"/>
                      <a:pt x="447610" y="441325"/>
                      <a:pt x="439057" y="441325"/>
                    </a:cubicBezTo>
                    <a:cubicBezTo>
                      <a:pt x="282964" y="441325"/>
                      <a:pt x="184604" y="441325"/>
                      <a:pt x="121881" y="441325"/>
                    </a:cubicBezTo>
                    <a:cubicBezTo>
                      <a:pt x="116892" y="441325"/>
                      <a:pt x="111190" y="441325"/>
                      <a:pt x="106201" y="441325"/>
                    </a:cubicBezTo>
                    <a:cubicBezTo>
                      <a:pt x="101211" y="441325"/>
                      <a:pt x="95509" y="441325"/>
                      <a:pt x="90520" y="441325"/>
                    </a:cubicBezTo>
                    <a:cubicBezTo>
                      <a:pt x="15681" y="441325"/>
                      <a:pt x="15681" y="441325"/>
                      <a:pt x="15681" y="441325"/>
                    </a:cubicBezTo>
                    <a:cubicBezTo>
                      <a:pt x="7128" y="441325"/>
                      <a:pt x="0" y="435012"/>
                      <a:pt x="0" y="426594"/>
                    </a:cubicBezTo>
                    <a:cubicBezTo>
                      <a:pt x="0" y="418177"/>
                      <a:pt x="7128" y="411162"/>
                      <a:pt x="15681" y="411162"/>
                    </a:cubicBezTo>
                    <a:close/>
                    <a:moveTo>
                      <a:pt x="15681" y="307975"/>
                    </a:moveTo>
                    <a:cubicBezTo>
                      <a:pt x="42053" y="307975"/>
                      <a:pt x="67712" y="307975"/>
                      <a:pt x="90520" y="307975"/>
                    </a:cubicBezTo>
                    <a:cubicBezTo>
                      <a:pt x="96222" y="307975"/>
                      <a:pt x="101211" y="307975"/>
                      <a:pt x="106201" y="307975"/>
                    </a:cubicBezTo>
                    <a:cubicBezTo>
                      <a:pt x="111903" y="307975"/>
                      <a:pt x="116892" y="307975"/>
                      <a:pt x="121881" y="307975"/>
                    </a:cubicBezTo>
                    <a:cubicBezTo>
                      <a:pt x="439057" y="307975"/>
                      <a:pt x="439057" y="307975"/>
                      <a:pt x="439057" y="307975"/>
                    </a:cubicBezTo>
                    <a:cubicBezTo>
                      <a:pt x="447610" y="307975"/>
                      <a:pt x="454025" y="315157"/>
                      <a:pt x="454025" y="323057"/>
                    </a:cubicBezTo>
                    <a:cubicBezTo>
                      <a:pt x="454025" y="330956"/>
                      <a:pt x="447610" y="338138"/>
                      <a:pt x="439057" y="338138"/>
                    </a:cubicBezTo>
                    <a:cubicBezTo>
                      <a:pt x="282964" y="338138"/>
                      <a:pt x="184604" y="338138"/>
                      <a:pt x="121881" y="338138"/>
                    </a:cubicBezTo>
                    <a:cubicBezTo>
                      <a:pt x="116892" y="338138"/>
                      <a:pt x="111190" y="338138"/>
                      <a:pt x="106201" y="338138"/>
                    </a:cubicBezTo>
                    <a:cubicBezTo>
                      <a:pt x="101211" y="338138"/>
                      <a:pt x="95509" y="338138"/>
                      <a:pt x="90520" y="338138"/>
                    </a:cubicBezTo>
                    <a:cubicBezTo>
                      <a:pt x="15681" y="338138"/>
                      <a:pt x="15681" y="338138"/>
                      <a:pt x="15681" y="338138"/>
                    </a:cubicBezTo>
                    <a:cubicBezTo>
                      <a:pt x="7128" y="338138"/>
                      <a:pt x="0" y="330956"/>
                      <a:pt x="0" y="323057"/>
                    </a:cubicBezTo>
                    <a:cubicBezTo>
                      <a:pt x="0" y="315157"/>
                      <a:pt x="7128" y="307975"/>
                      <a:pt x="15681" y="307975"/>
                    </a:cubicBezTo>
                    <a:close/>
                    <a:moveTo>
                      <a:pt x="15681" y="204787"/>
                    </a:moveTo>
                    <a:cubicBezTo>
                      <a:pt x="42053" y="204787"/>
                      <a:pt x="67712" y="204787"/>
                      <a:pt x="90520" y="204787"/>
                    </a:cubicBezTo>
                    <a:cubicBezTo>
                      <a:pt x="96222" y="204787"/>
                      <a:pt x="101211" y="204787"/>
                      <a:pt x="106201" y="204787"/>
                    </a:cubicBezTo>
                    <a:cubicBezTo>
                      <a:pt x="111903" y="204787"/>
                      <a:pt x="116892" y="204787"/>
                      <a:pt x="121881" y="204787"/>
                    </a:cubicBezTo>
                    <a:cubicBezTo>
                      <a:pt x="439057" y="204787"/>
                      <a:pt x="439057" y="204787"/>
                      <a:pt x="439057" y="204787"/>
                    </a:cubicBezTo>
                    <a:cubicBezTo>
                      <a:pt x="447610" y="204787"/>
                      <a:pt x="454025" y="211802"/>
                      <a:pt x="454025" y="220219"/>
                    </a:cubicBezTo>
                    <a:cubicBezTo>
                      <a:pt x="454025" y="227935"/>
                      <a:pt x="447610" y="234950"/>
                      <a:pt x="439057" y="234950"/>
                    </a:cubicBezTo>
                    <a:cubicBezTo>
                      <a:pt x="282964" y="234950"/>
                      <a:pt x="184604" y="234950"/>
                      <a:pt x="121881" y="234950"/>
                    </a:cubicBezTo>
                    <a:cubicBezTo>
                      <a:pt x="116892" y="234950"/>
                      <a:pt x="111190" y="234950"/>
                      <a:pt x="106201" y="234950"/>
                    </a:cubicBezTo>
                    <a:cubicBezTo>
                      <a:pt x="101211" y="234950"/>
                      <a:pt x="95509" y="234950"/>
                      <a:pt x="90520" y="234950"/>
                    </a:cubicBezTo>
                    <a:cubicBezTo>
                      <a:pt x="15681" y="234950"/>
                      <a:pt x="15681" y="234950"/>
                      <a:pt x="15681" y="234950"/>
                    </a:cubicBezTo>
                    <a:cubicBezTo>
                      <a:pt x="7128" y="234950"/>
                      <a:pt x="0" y="227935"/>
                      <a:pt x="0" y="220219"/>
                    </a:cubicBezTo>
                    <a:cubicBezTo>
                      <a:pt x="0" y="211802"/>
                      <a:pt x="7128" y="204787"/>
                      <a:pt x="15681" y="204787"/>
                    </a:cubicBezTo>
                    <a:close/>
                    <a:moveTo>
                      <a:pt x="15681" y="101600"/>
                    </a:moveTo>
                    <a:cubicBezTo>
                      <a:pt x="42053" y="101600"/>
                      <a:pt x="67712" y="101600"/>
                      <a:pt x="90520" y="101600"/>
                    </a:cubicBezTo>
                    <a:cubicBezTo>
                      <a:pt x="96222" y="101600"/>
                      <a:pt x="101211" y="101600"/>
                      <a:pt x="106201" y="101600"/>
                    </a:cubicBezTo>
                    <a:cubicBezTo>
                      <a:pt x="111903" y="101600"/>
                      <a:pt x="116892" y="101600"/>
                      <a:pt x="121881" y="101600"/>
                    </a:cubicBezTo>
                    <a:cubicBezTo>
                      <a:pt x="439057" y="101600"/>
                      <a:pt x="439057" y="101600"/>
                      <a:pt x="439057" y="101600"/>
                    </a:cubicBezTo>
                    <a:cubicBezTo>
                      <a:pt x="447610" y="101600"/>
                      <a:pt x="454025" y="108816"/>
                      <a:pt x="454025" y="117475"/>
                    </a:cubicBezTo>
                    <a:cubicBezTo>
                      <a:pt x="454025" y="126134"/>
                      <a:pt x="447610" y="133350"/>
                      <a:pt x="439057" y="133350"/>
                    </a:cubicBezTo>
                    <a:cubicBezTo>
                      <a:pt x="282964" y="133350"/>
                      <a:pt x="184604" y="133350"/>
                      <a:pt x="121881" y="133350"/>
                    </a:cubicBezTo>
                    <a:cubicBezTo>
                      <a:pt x="116892" y="133350"/>
                      <a:pt x="111190" y="133350"/>
                      <a:pt x="106201" y="133350"/>
                    </a:cubicBezTo>
                    <a:cubicBezTo>
                      <a:pt x="101211" y="133350"/>
                      <a:pt x="95509" y="133350"/>
                      <a:pt x="90520" y="133350"/>
                    </a:cubicBezTo>
                    <a:cubicBezTo>
                      <a:pt x="15681" y="133350"/>
                      <a:pt x="15681" y="133350"/>
                      <a:pt x="15681" y="133350"/>
                    </a:cubicBezTo>
                    <a:cubicBezTo>
                      <a:pt x="7128" y="133350"/>
                      <a:pt x="0" y="126134"/>
                      <a:pt x="0" y="117475"/>
                    </a:cubicBezTo>
                    <a:cubicBezTo>
                      <a:pt x="0" y="108816"/>
                      <a:pt x="7128" y="101600"/>
                      <a:pt x="15681" y="101600"/>
                    </a:cubicBezTo>
                    <a:close/>
                    <a:moveTo>
                      <a:pt x="15681" y="0"/>
                    </a:moveTo>
                    <a:cubicBezTo>
                      <a:pt x="42053" y="0"/>
                      <a:pt x="67712" y="0"/>
                      <a:pt x="90520" y="0"/>
                    </a:cubicBezTo>
                    <a:cubicBezTo>
                      <a:pt x="96222" y="0"/>
                      <a:pt x="101211" y="0"/>
                      <a:pt x="106201" y="0"/>
                    </a:cubicBezTo>
                    <a:cubicBezTo>
                      <a:pt x="111903" y="0"/>
                      <a:pt x="116892" y="0"/>
                      <a:pt x="121881" y="0"/>
                    </a:cubicBezTo>
                    <a:cubicBezTo>
                      <a:pt x="439057" y="0"/>
                      <a:pt x="439057" y="0"/>
                      <a:pt x="439057" y="0"/>
                    </a:cubicBezTo>
                    <a:cubicBezTo>
                      <a:pt x="447610" y="0"/>
                      <a:pt x="454025" y="6313"/>
                      <a:pt x="454025" y="15432"/>
                    </a:cubicBezTo>
                    <a:cubicBezTo>
                      <a:pt x="454025" y="23148"/>
                      <a:pt x="447610" y="30163"/>
                      <a:pt x="439057" y="30163"/>
                    </a:cubicBezTo>
                    <a:cubicBezTo>
                      <a:pt x="282964" y="30163"/>
                      <a:pt x="184604" y="30163"/>
                      <a:pt x="121881" y="30163"/>
                    </a:cubicBezTo>
                    <a:cubicBezTo>
                      <a:pt x="116892" y="30163"/>
                      <a:pt x="111190" y="30163"/>
                      <a:pt x="106201" y="30163"/>
                    </a:cubicBezTo>
                    <a:cubicBezTo>
                      <a:pt x="101211" y="30163"/>
                      <a:pt x="95509" y="30163"/>
                      <a:pt x="90520" y="30163"/>
                    </a:cubicBezTo>
                    <a:cubicBezTo>
                      <a:pt x="15681" y="30163"/>
                      <a:pt x="15681" y="30163"/>
                      <a:pt x="15681" y="30163"/>
                    </a:cubicBezTo>
                    <a:cubicBezTo>
                      <a:pt x="7128" y="30163"/>
                      <a:pt x="0" y="23148"/>
                      <a:pt x="0" y="15432"/>
                    </a:cubicBezTo>
                    <a:cubicBezTo>
                      <a:pt x="0" y="6313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5" name="ee4pFootnotes">
            <a:extLst>
              <a:ext uri="{FF2B5EF4-FFF2-40B4-BE49-F238E27FC236}">
                <a16:creationId xmlns:a16="http://schemas.microsoft.com/office/drawing/2014/main" id="{85BCB5CA-2855-4528-93C1-1C847753F6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478" y="6606158"/>
            <a:ext cx="11615045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s-NI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Fuentes: DHS CISA; Recomendaciones interinas para la distribución de vacunas contra el COVID-19 del Comité Consultivo sobre prácticas de inmunización, Estados Unidos, Diciembre 2020</a:t>
            </a:r>
          </a:p>
        </p:txBody>
      </p:sp>
    </p:spTree>
    <p:extLst>
      <p:ext uri="{BB962C8B-B14F-4D97-AF65-F5344CB8AC3E}">
        <p14:creationId xmlns:p14="http://schemas.microsoft.com/office/powerpoint/2010/main" val="40803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00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1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C74C-AE5C-42D9-83A5-811610910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Fase 2 | </a:t>
            </a:r>
            <a:r>
              <a:rPr lang="en-US" dirty="0" err="1"/>
              <a:t>Ambientes</a:t>
            </a:r>
            <a:r>
              <a:rPr lang="en-US" dirty="0"/>
              <a:t> </a:t>
            </a:r>
            <a:r>
              <a:rPr lang="en-US" dirty="0" err="1"/>
              <a:t>congregados</a:t>
            </a:r>
            <a:r>
              <a:rPr lang="en-US" dirty="0"/>
              <a:t>: </a:t>
            </a:r>
            <a:r>
              <a:rPr lang="es-ES" dirty="0"/>
              <a:t>Identificando las características y definición del trabajo</a:t>
            </a:r>
            <a:r>
              <a:rPr lang="en-US" dirty="0"/>
              <a:t> 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5BD9B3A2-A7C5-43DA-B99F-C233B960B821}"/>
              </a:ext>
            </a:extLst>
          </p:cNvPr>
          <p:cNvSpPr txBox="1"/>
          <p:nvPr/>
        </p:nvSpPr>
        <p:spPr>
          <a:xfrm>
            <a:off x="3602381" y="2485542"/>
            <a:ext cx="8301141" cy="220060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GT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 ambientes congregados con licencia son instalaciones con licencia del gobierno local o estatal</a:t>
            </a:r>
            <a:r>
              <a:rPr lang="es-GT" sz="1300" dirty="0">
                <a:solidFill>
                  <a:srgbClr val="0519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que proporcionan arreglos de vivienda o cuidado, y donde el distanciamiento social no es posible;</a:t>
            </a:r>
            <a:r>
              <a:rPr lang="es-GT" sz="1300" dirty="0">
                <a:solidFill>
                  <a:srgbClr val="051934"/>
                </a:solidFill>
                <a:latin typeface="Calibri" panose="020F0502020204030204" pitchFamily="34" charset="0"/>
              </a:rPr>
              <a:t> estos ambientes brindan una forma de servicios sociales o cuidados médicos (o cuidados asociados a la salud). 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GT" sz="1300" dirty="0">
                <a:solidFill>
                  <a:srgbClr val="051934"/>
                </a:solidFill>
                <a:latin typeface="Calibri" panose="020F0502020204030204" pitchFamily="34" charset="0"/>
              </a:rPr>
              <a:t>Los ambientes incluidos en esta fase son aquellos monitoreados por el gobierno local o estatal</a:t>
            </a:r>
            <a:r>
              <a:rPr lang="es-GT" sz="1300" dirty="0">
                <a:solidFill>
                  <a:srgbClr val="000000"/>
                </a:solidFill>
                <a:latin typeface="Calibri" panose="020F0502020204030204" pitchFamily="34" charset="0"/>
              </a:rPr>
              <a:t>, o poblaciones vulnerables con respecto a vivienda, que se encuentran bajo cuidado, por ejemplo, cuidados en la misma casa y casas de retiro.</a:t>
            </a:r>
          </a:p>
          <a:p>
            <a:pPr marL="432000" lvl="1" indent="-288000">
              <a:buClr>
                <a:srgbClr val="051934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GT" sz="1300" dirty="0">
                <a:solidFill>
                  <a:srgbClr val="000000"/>
                </a:solidFill>
                <a:latin typeface="Calibri" panose="020F0502020204030204" pitchFamily="34" charset="0"/>
              </a:rPr>
              <a:t>El riesgo aumenta por:</a:t>
            </a:r>
            <a:endParaRPr lang="es-GT" sz="13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01200" lvl="2">
              <a:buClr>
                <a:srgbClr val="051934"/>
              </a:buClr>
              <a:buSzPct val="100000"/>
            </a:pPr>
            <a:r>
              <a:rPr lang="es-GT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Proximidad, por ejemplo, residentes y personal que se encuentran a menos de 6 pies de distancia el uno del otro - Tipo de contacto, por ejemplo, exposición a gotitas, superficies compartidas, objetos comunes</a:t>
            </a:r>
          </a:p>
          <a:p>
            <a:pPr marL="601200" lvl="2">
              <a:buClr>
                <a:srgbClr val="051934"/>
              </a:buClr>
              <a:buSzPct val="100000"/>
            </a:pPr>
            <a:r>
              <a:rPr lang="es-GT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Duración, por ejemplo, interacciones que duran en promedio más de 10 minutos</a:t>
            </a:r>
          </a:p>
          <a:p>
            <a:pPr marL="576000" lvl="2">
              <a:buClr>
                <a:srgbClr val="051934"/>
              </a:buClr>
              <a:buSzPct val="100000"/>
            </a:pPr>
            <a:r>
              <a:rPr lang="es-GT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Alto número potencial de contactos y a veces,  dificultades para implementar medidas de protección </a:t>
            </a:r>
            <a:endParaRPr lang="es-GT" sz="13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37" name="ee4pHeader1">
            <a:extLst>
              <a:ext uri="{FF2B5EF4-FFF2-40B4-BE49-F238E27FC236}">
                <a16:creationId xmlns:a16="http://schemas.microsoft.com/office/drawing/2014/main" id="{99576483-DC11-4253-A79D-8030C41DDDB7}"/>
              </a:ext>
            </a:extLst>
          </p:cNvPr>
          <p:cNvSpPr txBox="1"/>
          <p:nvPr/>
        </p:nvSpPr>
        <p:spPr>
          <a:xfrm>
            <a:off x="3602381" y="1599337"/>
            <a:ext cx="8301141" cy="43088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buSzPct val="100000"/>
            </a:pP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alquier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sona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ive o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a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biente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gregado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encia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ro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biente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idado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peciale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gregados</a:t>
            </a:r>
            <a:endParaRPr lang="en-US" sz="14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252306-3D77-40FD-9AB8-1540045624C6}"/>
              </a:ext>
            </a:extLst>
          </p:cNvPr>
          <p:cNvSpPr txBox="1"/>
          <p:nvPr/>
        </p:nvSpPr>
        <p:spPr>
          <a:xfrm>
            <a:off x="3568920" y="4933784"/>
            <a:ext cx="8301140" cy="160043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Refugios para personas sin hogar, y otros ambientes y lugares de vivienda para personas sin hogar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Instituciones congregadas de cuidados para niños, adultos y servicios de protección para los niños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Refugios de emergencia o casas-refugio para víctimas de violencia doméstica </a:t>
            </a:r>
            <a:endParaRPr lang="es-PY" sz="1300" i="1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</a:endParaRP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Correccionales, </a:t>
            </a:r>
            <a:r>
              <a:rPr lang="es-PY" sz="1300" dirty="0">
                <a:solidFill>
                  <a:srgbClr val="000000"/>
                </a:solidFill>
                <a:latin typeface="Calibri" panose="020F0502020204030204" pitchFamily="34" charset="0"/>
              </a:rPr>
              <a:t>incluyendo cárceles e instalaciones de justicia juvenil</a:t>
            </a:r>
            <a:endParaRPr lang="es-PY" sz="13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</a:endParaRP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Instituciones de salud conductual (incluyendo instituciones de salud mental) y centros de tratamiento residencial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Casas para cuidados de adultos mayores, residentes y personal de instalaciones o viviendas no cubiertas en la fase 1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/>
                </a:solidFill>
                <a:latin typeface="Calibri" panose="020F0502020204030204" pitchFamily="34" charset="0"/>
              </a:rPr>
              <a:t>Viviendas para adultos mayores (ancianos)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PY" sz="1300" dirty="0">
                <a:solidFill>
                  <a:srgbClr val="000000"/>
                </a:solidFill>
                <a:latin typeface="Calibri" panose="020F0502020204030204" pitchFamily="34" charset="0"/>
              </a:rPr>
              <a:t>Personas que brindan cuidados en el hogar (pagados o no pagados), asistentes de cuidado personal directo 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71E4D09-8242-418A-A77C-3BFE464A011E}"/>
              </a:ext>
            </a:extLst>
          </p:cNvPr>
          <p:cNvGrpSpPr>
            <a:grpSpLocks noChangeAspect="1"/>
          </p:cNvGrpSpPr>
          <p:nvPr/>
        </p:nvGrpSpPr>
        <p:grpSpPr>
          <a:xfrm>
            <a:off x="318694" y="3542669"/>
            <a:ext cx="446378" cy="446374"/>
            <a:chOff x="5272330" y="2605278"/>
            <a:chExt cx="1645920" cy="1645920"/>
          </a:xfrm>
        </p:grpSpPr>
        <p:sp>
          <p:nvSpPr>
            <p:cNvPr id="92" name="AutoShape 3">
              <a:extLst>
                <a:ext uri="{FF2B5EF4-FFF2-40B4-BE49-F238E27FC236}">
                  <a16:creationId xmlns:a16="http://schemas.microsoft.com/office/drawing/2014/main" id="{066F34F1-F328-4FFC-814B-6FB4CD0952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330" y="2605278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A7DD9B1-F129-4CA2-B21E-163D6B71F93C}"/>
                </a:ext>
              </a:extLst>
            </p:cNvPr>
            <p:cNvGrpSpPr/>
            <p:nvPr/>
          </p:nvGrpSpPr>
          <p:grpSpPr>
            <a:xfrm>
              <a:off x="5424297" y="2880360"/>
              <a:ext cx="1341986" cy="1095756"/>
              <a:chOff x="5424297" y="2880360"/>
              <a:chExt cx="1341986" cy="1095756"/>
            </a:xfrm>
          </p:grpSpPr>
          <p:sp>
            <p:nvSpPr>
              <p:cNvPr id="94" name="Freeform 25">
                <a:extLst>
                  <a:ext uri="{FF2B5EF4-FFF2-40B4-BE49-F238E27FC236}">
                    <a16:creationId xmlns:a16="http://schemas.microsoft.com/office/drawing/2014/main" id="{7118258F-0956-4372-BDCD-592485673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297" y="2880360"/>
                <a:ext cx="1082609" cy="826495"/>
              </a:xfrm>
              <a:custGeom>
                <a:avLst/>
                <a:gdLst>
                  <a:gd name="connsiteX0" fmla="*/ 2428875 w 4510872"/>
                  <a:gd name="connsiteY0" fmla="*/ 2511425 h 3443730"/>
                  <a:gd name="connsiteX1" fmla="*/ 2718485 w 4510872"/>
                  <a:gd name="connsiteY1" fmla="*/ 2672626 h 3443730"/>
                  <a:gd name="connsiteX2" fmla="*/ 2748342 w 4510872"/>
                  <a:gd name="connsiteY2" fmla="*/ 2741285 h 3443730"/>
                  <a:gd name="connsiteX3" fmla="*/ 2691614 w 4510872"/>
                  <a:gd name="connsiteY3" fmla="*/ 2786063 h 3443730"/>
                  <a:gd name="connsiteX4" fmla="*/ 2593087 w 4510872"/>
                  <a:gd name="connsiteY4" fmla="*/ 2786063 h 3443730"/>
                  <a:gd name="connsiteX5" fmla="*/ 2428875 w 4510872"/>
                  <a:gd name="connsiteY5" fmla="*/ 2511425 h 3443730"/>
                  <a:gd name="connsiteX6" fmla="*/ 4144539 w 4510872"/>
                  <a:gd name="connsiteY6" fmla="*/ 1955800 h 3443730"/>
                  <a:gd name="connsiteX7" fmla="*/ 4144539 w 4510872"/>
                  <a:gd name="connsiteY7" fmla="*/ 2425578 h 3443730"/>
                  <a:gd name="connsiteX8" fmla="*/ 2425928 w 4510872"/>
                  <a:gd name="connsiteY8" fmla="*/ 2425578 h 3443730"/>
                  <a:gd name="connsiteX9" fmla="*/ 2425928 w 4510872"/>
                  <a:gd name="connsiteY9" fmla="*/ 2493963 h 3443730"/>
                  <a:gd name="connsiteX10" fmla="*/ 2381250 w 4510872"/>
                  <a:gd name="connsiteY10" fmla="*/ 2306647 h 3443730"/>
                  <a:gd name="connsiteX11" fmla="*/ 4144539 w 4510872"/>
                  <a:gd name="connsiteY11" fmla="*/ 2306647 h 3443730"/>
                  <a:gd name="connsiteX12" fmla="*/ 4144539 w 4510872"/>
                  <a:gd name="connsiteY12" fmla="*/ 1955800 h 3443730"/>
                  <a:gd name="connsiteX13" fmla="*/ 3295553 w 4510872"/>
                  <a:gd name="connsiteY13" fmla="*/ 1169783 h 3443730"/>
                  <a:gd name="connsiteX14" fmla="*/ 2569208 w 4510872"/>
                  <a:gd name="connsiteY14" fmla="*/ 1452235 h 3443730"/>
                  <a:gd name="connsiteX15" fmla="*/ 2539439 w 4510872"/>
                  <a:gd name="connsiteY15" fmla="*/ 2893146 h 3443730"/>
                  <a:gd name="connsiteX16" fmla="*/ 3899849 w 4510872"/>
                  <a:gd name="connsiteY16" fmla="*/ 2997344 h 3443730"/>
                  <a:gd name="connsiteX17" fmla="*/ 3986177 w 4510872"/>
                  <a:gd name="connsiteY17" fmla="*/ 2922917 h 3443730"/>
                  <a:gd name="connsiteX18" fmla="*/ 4069528 w 4510872"/>
                  <a:gd name="connsiteY18" fmla="*/ 2827650 h 3443730"/>
                  <a:gd name="connsiteX19" fmla="*/ 4012968 w 4510872"/>
                  <a:gd name="connsiteY19" fmla="*/ 1479028 h 3443730"/>
                  <a:gd name="connsiteX20" fmla="*/ 3295553 w 4510872"/>
                  <a:gd name="connsiteY20" fmla="*/ 1169783 h 3443730"/>
                  <a:gd name="connsiteX21" fmla="*/ 3299874 w 4510872"/>
                  <a:gd name="connsiteY21" fmla="*/ 1025826 h 3443730"/>
                  <a:gd name="connsiteX22" fmla="*/ 4117875 w 4510872"/>
                  <a:gd name="connsiteY22" fmla="*/ 1381236 h 3443730"/>
                  <a:gd name="connsiteX23" fmla="*/ 4225056 w 4510872"/>
                  <a:gd name="connsiteY23" fmla="*/ 2863910 h 3443730"/>
                  <a:gd name="connsiteX24" fmla="*/ 4501941 w 4510872"/>
                  <a:gd name="connsiteY24" fmla="*/ 3149726 h 3443730"/>
                  <a:gd name="connsiteX25" fmla="*/ 4501941 w 4510872"/>
                  <a:gd name="connsiteY25" fmla="*/ 3194385 h 3443730"/>
                  <a:gd name="connsiteX26" fmla="*/ 4248875 w 4510872"/>
                  <a:gd name="connsiteY26" fmla="*/ 3432566 h 3443730"/>
                  <a:gd name="connsiteX27" fmla="*/ 4204216 w 4510872"/>
                  <a:gd name="connsiteY27" fmla="*/ 3432566 h 3443730"/>
                  <a:gd name="connsiteX28" fmla="*/ 3933285 w 4510872"/>
                  <a:gd name="connsiteY28" fmla="*/ 3152703 h 3443730"/>
                  <a:gd name="connsiteX29" fmla="*/ 2435726 w 4510872"/>
                  <a:gd name="connsiteY29" fmla="*/ 2997886 h 3443730"/>
                  <a:gd name="connsiteX30" fmla="*/ 2468475 w 4510872"/>
                  <a:gd name="connsiteY30" fmla="*/ 1351464 h 3443730"/>
                  <a:gd name="connsiteX31" fmla="*/ 3299874 w 4510872"/>
                  <a:gd name="connsiteY31" fmla="*/ 1025826 h 3443730"/>
                  <a:gd name="connsiteX32" fmla="*/ 59531 w 4510872"/>
                  <a:gd name="connsiteY32" fmla="*/ 0 h 3443730"/>
                  <a:gd name="connsiteX33" fmla="*/ 4202907 w 4510872"/>
                  <a:gd name="connsiteY33" fmla="*/ 0 h 3443730"/>
                  <a:gd name="connsiteX34" fmla="*/ 4262438 w 4510872"/>
                  <a:gd name="connsiteY34" fmla="*/ 59531 h 3443730"/>
                  <a:gd name="connsiteX35" fmla="*/ 4262438 w 4510872"/>
                  <a:gd name="connsiteY35" fmla="*/ 1372196 h 3443730"/>
                  <a:gd name="connsiteX36" fmla="*/ 4199930 w 4510872"/>
                  <a:gd name="connsiteY36" fmla="*/ 1300758 h 3443730"/>
                  <a:gd name="connsiteX37" fmla="*/ 4140399 w 4510872"/>
                  <a:gd name="connsiteY37" fmla="*/ 1244204 h 3443730"/>
                  <a:gd name="connsiteX38" fmla="*/ 4140399 w 4510872"/>
                  <a:gd name="connsiteY38" fmla="*/ 122039 h 3443730"/>
                  <a:gd name="connsiteX39" fmla="*/ 119062 w 4510872"/>
                  <a:gd name="connsiteY39" fmla="*/ 122039 h 3443730"/>
                  <a:gd name="connsiteX40" fmla="*/ 119062 w 4510872"/>
                  <a:gd name="connsiteY40" fmla="*/ 2309813 h 3443730"/>
                  <a:gd name="connsiteX41" fmla="*/ 1896070 w 4510872"/>
                  <a:gd name="connsiteY41" fmla="*/ 2309813 h 3443730"/>
                  <a:gd name="connsiteX42" fmla="*/ 1955602 w 4510872"/>
                  <a:gd name="connsiteY42" fmla="*/ 2369344 h 3443730"/>
                  <a:gd name="connsiteX43" fmla="*/ 1955602 w 4510872"/>
                  <a:gd name="connsiteY43" fmla="*/ 2544962 h 3443730"/>
                  <a:gd name="connsiteX44" fmla="*/ 1925836 w 4510872"/>
                  <a:gd name="connsiteY44" fmla="*/ 2598540 h 3443730"/>
                  <a:gd name="connsiteX45" fmla="*/ 1800820 w 4510872"/>
                  <a:gd name="connsiteY45" fmla="*/ 2664024 h 3443730"/>
                  <a:gd name="connsiteX46" fmla="*/ 2074664 w 4510872"/>
                  <a:gd name="connsiteY46" fmla="*/ 2664024 h 3443730"/>
                  <a:gd name="connsiteX47" fmla="*/ 2131219 w 4510872"/>
                  <a:gd name="connsiteY47" fmla="*/ 2786063 h 3443730"/>
                  <a:gd name="connsiteX48" fmla="*/ 1565672 w 4510872"/>
                  <a:gd name="connsiteY48" fmla="*/ 2786063 h 3443730"/>
                  <a:gd name="connsiteX49" fmla="*/ 1509117 w 4510872"/>
                  <a:gd name="connsiteY49" fmla="*/ 2741415 h 3443730"/>
                  <a:gd name="connsiteX50" fmla="*/ 1538883 w 4510872"/>
                  <a:gd name="connsiteY50" fmla="*/ 2672954 h 3443730"/>
                  <a:gd name="connsiteX51" fmla="*/ 1836539 w 4510872"/>
                  <a:gd name="connsiteY51" fmla="*/ 2509243 h 3443730"/>
                  <a:gd name="connsiteX52" fmla="*/ 1836539 w 4510872"/>
                  <a:gd name="connsiteY52" fmla="*/ 2428876 h 3443730"/>
                  <a:gd name="connsiteX53" fmla="*/ 59531 w 4510872"/>
                  <a:gd name="connsiteY53" fmla="*/ 2428876 h 3443730"/>
                  <a:gd name="connsiteX54" fmla="*/ 0 w 4510872"/>
                  <a:gd name="connsiteY54" fmla="*/ 2369344 h 3443730"/>
                  <a:gd name="connsiteX55" fmla="*/ 0 w 4510872"/>
                  <a:gd name="connsiteY55" fmla="*/ 59531 h 3443730"/>
                  <a:gd name="connsiteX56" fmla="*/ 59531 w 4510872"/>
                  <a:gd name="connsiteY56" fmla="*/ 0 h 3443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4510872" h="3443730">
                    <a:moveTo>
                      <a:pt x="2428875" y="2511425"/>
                    </a:moveTo>
                    <a:cubicBezTo>
                      <a:pt x="2428875" y="2511425"/>
                      <a:pt x="2428875" y="2511425"/>
                      <a:pt x="2718485" y="2672626"/>
                    </a:cubicBezTo>
                    <a:cubicBezTo>
                      <a:pt x="2742371" y="2687552"/>
                      <a:pt x="2754313" y="2714418"/>
                      <a:pt x="2748342" y="2741285"/>
                    </a:cubicBezTo>
                    <a:cubicBezTo>
                      <a:pt x="2742371" y="2768152"/>
                      <a:pt x="2718485" y="2786063"/>
                      <a:pt x="2691614" y="2786063"/>
                    </a:cubicBezTo>
                    <a:cubicBezTo>
                      <a:pt x="2691614" y="2786063"/>
                      <a:pt x="2691614" y="2786063"/>
                      <a:pt x="2593087" y="2786063"/>
                    </a:cubicBezTo>
                    <a:cubicBezTo>
                      <a:pt x="2518445" y="2702478"/>
                      <a:pt x="2464703" y="2609937"/>
                      <a:pt x="2428875" y="2511425"/>
                    </a:cubicBezTo>
                    <a:close/>
                    <a:moveTo>
                      <a:pt x="4144539" y="1955800"/>
                    </a:moveTo>
                    <a:cubicBezTo>
                      <a:pt x="4186238" y="2110410"/>
                      <a:pt x="4186238" y="2270967"/>
                      <a:pt x="4144539" y="2425578"/>
                    </a:cubicBezTo>
                    <a:cubicBezTo>
                      <a:pt x="4144539" y="2425578"/>
                      <a:pt x="4144539" y="2425578"/>
                      <a:pt x="2425928" y="2425578"/>
                    </a:cubicBezTo>
                    <a:cubicBezTo>
                      <a:pt x="2425928" y="2425578"/>
                      <a:pt x="2425928" y="2425578"/>
                      <a:pt x="2425928" y="2493963"/>
                    </a:cubicBezTo>
                    <a:cubicBezTo>
                      <a:pt x="2405078" y="2434498"/>
                      <a:pt x="2390186" y="2372059"/>
                      <a:pt x="2381250" y="2306647"/>
                    </a:cubicBezTo>
                    <a:cubicBezTo>
                      <a:pt x="2381250" y="2306647"/>
                      <a:pt x="2381250" y="2306647"/>
                      <a:pt x="4144539" y="2306647"/>
                    </a:cubicBezTo>
                    <a:cubicBezTo>
                      <a:pt x="4144539" y="2306647"/>
                      <a:pt x="4144539" y="2306647"/>
                      <a:pt x="4144539" y="1955800"/>
                    </a:cubicBezTo>
                    <a:close/>
                    <a:moveTo>
                      <a:pt x="3295553" y="1169783"/>
                    </a:moveTo>
                    <a:cubicBezTo>
                      <a:pt x="3034337" y="1164946"/>
                      <a:pt x="2771632" y="1258724"/>
                      <a:pt x="2569208" y="1452235"/>
                    </a:cubicBezTo>
                    <a:cubicBezTo>
                      <a:pt x="2161383" y="1845210"/>
                      <a:pt x="2149475" y="2488262"/>
                      <a:pt x="2539439" y="2893146"/>
                    </a:cubicBezTo>
                    <a:cubicBezTo>
                      <a:pt x="2905589" y="3274213"/>
                      <a:pt x="3492024" y="3309938"/>
                      <a:pt x="3899849" y="2997344"/>
                    </a:cubicBezTo>
                    <a:cubicBezTo>
                      <a:pt x="3929617" y="2973527"/>
                      <a:pt x="3959385" y="2946733"/>
                      <a:pt x="3986177" y="2922917"/>
                    </a:cubicBezTo>
                    <a:cubicBezTo>
                      <a:pt x="4015945" y="2893146"/>
                      <a:pt x="4042737" y="2860398"/>
                      <a:pt x="4069528" y="2827650"/>
                    </a:cubicBezTo>
                    <a:cubicBezTo>
                      <a:pt x="4391025" y="2434674"/>
                      <a:pt x="4376141" y="1854142"/>
                      <a:pt x="4012968" y="1479028"/>
                    </a:cubicBezTo>
                    <a:cubicBezTo>
                      <a:pt x="3816498" y="1278075"/>
                      <a:pt x="3556770" y="1174621"/>
                      <a:pt x="3295553" y="1169783"/>
                    </a:cubicBezTo>
                    <a:close/>
                    <a:moveTo>
                      <a:pt x="3299874" y="1025826"/>
                    </a:moveTo>
                    <a:cubicBezTo>
                      <a:pt x="3598344" y="1031409"/>
                      <a:pt x="3894581" y="1150499"/>
                      <a:pt x="4117875" y="1381236"/>
                    </a:cubicBezTo>
                    <a:cubicBezTo>
                      <a:pt x="4510873" y="1792097"/>
                      <a:pt x="4546600" y="2417321"/>
                      <a:pt x="4225056" y="2863910"/>
                    </a:cubicBezTo>
                    <a:cubicBezTo>
                      <a:pt x="4501941" y="3149726"/>
                      <a:pt x="4501941" y="3149726"/>
                      <a:pt x="4501941" y="3149726"/>
                    </a:cubicBezTo>
                    <a:cubicBezTo>
                      <a:pt x="4513850" y="3161635"/>
                      <a:pt x="4513850" y="3185453"/>
                      <a:pt x="4501941" y="3194385"/>
                    </a:cubicBezTo>
                    <a:cubicBezTo>
                      <a:pt x="4248875" y="3432566"/>
                      <a:pt x="4248875" y="3432566"/>
                      <a:pt x="4248875" y="3432566"/>
                    </a:cubicBezTo>
                    <a:cubicBezTo>
                      <a:pt x="4239943" y="3447452"/>
                      <a:pt x="4219102" y="3447452"/>
                      <a:pt x="4204216" y="3432566"/>
                    </a:cubicBezTo>
                    <a:cubicBezTo>
                      <a:pt x="3933285" y="3152703"/>
                      <a:pt x="3933285" y="3152703"/>
                      <a:pt x="3933285" y="3152703"/>
                    </a:cubicBezTo>
                    <a:cubicBezTo>
                      <a:pt x="3471811" y="3462338"/>
                      <a:pt x="2834678" y="3408748"/>
                      <a:pt x="2435726" y="2997886"/>
                    </a:cubicBezTo>
                    <a:cubicBezTo>
                      <a:pt x="1989137" y="2533434"/>
                      <a:pt x="2004023" y="1795075"/>
                      <a:pt x="2468475" y="1351464"/>
                    </a:cubicBezTo>
                    <a:cubicBezTo>
                      <a:pt x="2700701" y="1128169"/>
                      <a:pt x="3001404" y="1020244"/>
                      <a:pt x="3299874" y="1025826"/>
                    </a:cubicBezTo>
                    <a:close/>
                    <a:moveTo>
                      <a:pt x="59531" y="0"/>
                    </a:moveTo>
                    <a:cubicBezTo>
                      <a:pt x="59531" y="0"/>
                      <a:pt x="59531" y="0"/>
                      <a:pt x="4202907" y="0"/>
                    </a:cubicBezTo>
                    <a:cubicBezTo>
                      <a:pt x="4232673" y="0"/>
                      <a:pt x="4262438" y="26789"/>
                      <a:pt x="4262438" y="59531"/>
                    </a:cubicBezTo>
                    <a:cubicBezTo>
                      <a:pt x="4262438" y="59531"/>
                      <a:pt x="4262438" y="59531"/>
                      <a:pt x="4262438" y="1372196"/>
                    </a:cubicBezTo>
                    <a:cubicBezTo>
                      <a:pt x="4241602" y="1345407"/>
                      <a:pt x="4220766" y="1321594"/>
                      <a:pt x="4199930" y="1300758"/>
                    </a:cubicBezTo>
                    <a:cubicBezTo>
                      <a:pt x="4179094" y="1279922"/>
                      <a:pt x="4161235" y="1262063"/>
                      <a:pt x="4140399" y="1244204"/>
                    </a:cubicBezTo>
                    <a:cubicBezTo>
                      <a:pt x="4140399" y="1244204"/>
                      <a:pt x="4140399" y="1244204"/>
                      <a:pt x="4140399" y="122039"/>
                    </a:cubicBezTo>
                    <a:cubicBezTo>
                      <a:pt x="4140399" y="122039"/>
                      <a:pt x="4140399" y="122039"/>
                      <a:pt x="119062" y="122039"/>
                    </a:cubicBezTo>
                    <a:cubicBezTo>
                      <a:pt x="119062" y="122039"/>
                      <a:pt x="119062" y="122039"/>
                      <a:pt x="119062" y="2309813"/>
                    </a:cubicBezTo>
                    <a:cubicBezTo>
                      <a:pt x="119062" y="2309813"/>
                      <a:pt x="119062" y="2309813"/>
                      <a:pt x="1896070" y="2309813"/>
                    </a:cubicBezTo>
                    <a:cubicBezTo>
                      <a:pt x="1931789" y="2309813"/>
                      <a:pt x="1955602" y="2336602"/>
                      <a:pt x="1955602" y="2369344"/>
                    </a:cubicBezTo>
                    <a:cubicBezTo>
                      <a:pt x="1955602" y="2369344"/>
                      <a:pt x="1955602" y="2369344"/>
                      <a:pt x="1955602" y="2544962"/>
                    </a:cubicBezTo>
                    <a:cubicBezTo>
                      <a:pt x="1955602" y="2565797"/>
                      <a:pt x="1943695" y="2589610"/>
                      <a:pt x="1925836" y="2598540"/>
                    </a:cubicBezTo>
                    <a:cubicBezTo>
                      <a:pt x="1925836" y="2598540"/>
                      <a:pt x="1925836" y="2598540"/>
                      <a:pt x="1800820" y="2664024"/>
                    </a:cubicBezTo>
                    <a:cubicBezTo>
                      <a:pt x="1800820" y="2664024"/>
                      <a:pt x="1800820" y="2664024"/>
                      <a:pt x="2074664" y="2664024"/>
                    </a:cubicBezTo>
                    <a:cubicBezTo>
                      <a:pt x="2092523" y="2705696"/>
                      <a:pt x="2110383" y="2747368"/>
                      <a:pt x="2131219" y="2786063"/>
                    </a:cubicBezTo>
                    <a:cubicBezTo>
                      <a:pt x="2131219" y="2786063"/>
                      <a:pt x="2131219" y="2786063"/>
                      <a:pt x="1565672" y="2786063"/>
                    </a:cubicBezTo>
                    <a:cubicBezTo>
                      <a:pt x="1538883" y="2786063"/>
                      <a:pt x="1515070" y="2768204"/>
                      <a:pt x="1509117" y="2741415"/>
                    </a:cubicBezTo>
                    <a:cubicBezTo>
                      <a:pt x="1500187" y="2714626"/>
                      <a:pt x="1515070" y="2687837"/>
                      <a:pt x="1538883" y="2672954"/>
                    </a:cubicBezTo>
                    <a:cubicBezTo>
                      <a:pt x="1538883" y="2672954"/>
                      <a:pt x="1538883" y="2672954"/>
                      <a:pt x="1836539" y="2509243"/>
                    </a:cubicBezTo>
                    <a:cubicBezTo>
                      <a:pt x="1836539" y="2509243"/>
                      <a:pt x="1836539" y="2509243"/>
                      <a:pt x="1836539" y="2428876"/>
                    </a:cubicBezTo>
                    <a:cubicBezTo>
                      <a:pt x="1836539" y="2428876"/>
                      <a:pt x="1836539" y="2428876"/>
                      <a:pt x="59531" y="2428876"/>
                    </a:cubicBezTo>
                    <a:cubicBezTo>
                      <a:pt x="23812" y="2428876"/>
                      <a:pt x="0" y="2402086"/>
                      <a:pt x="0" y="2369344"/>
                    </a:cubicBezTo>
                    <a:cubicBezTo>
                      <a:pt x="0" y="2369344"/>
                      <a:pt x="0" y="2369344"/>
                      <a:pt x="0" y="59531"/>
                    </a:cubicBezTo>
                    <a:cubicBezTo>
                      <a:pt x="0" y="26789"/>
                      <a:pt x="23812" y="0"/>
                      <a:pt x="5953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26">
                <a:extLst>
                  <a:ext uri="{FF2B5EF4-FFF2-40B4-BE49-F238E27FC236}">
                    <a16:creationId xmlns:a16="http://schemas.microsoft.com/office/drawing/2014/main" id="{C9081F22-C4F9-4E90-9FD8-58ED7016C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1447" y="2941701"/>
                <a:ext cx="1284836" cy="1034415"/>
              </a:xfrm>
              <a:custGeom>
                <a:avLst/>
                <a:gdLst>
                  <a:gd name="connsiteX0" fmla="*/ 4426759 w 5353486"/>
                  <a:gd name="connsiteY0" fmla="*/ 3108325 h 4310063"/>
                  <a:gd name="connsiteX1" fmla="*/ 4179889 w 5353486"/>
                  <a:gd name="connsiteY1" fmla="*/ 3349339 h 4310063"/>
                  <a:gd name="connsiteX2" fmla="*/ 4979985 w 5353486"/>
                  <a:gd name="connsiteY2" fmla="*/ 4188424 h 4310063"/>
                  <a:gd name="connsiteX3" fmla="*/ 5146548 w 5353486"/>
                  <a:gd name="connsiteY3" fmla="*/ 4111061 h 4310063"/>
                  <a:gd name="connsiteX4" fmla="*/ 5226855 w 5353486"/>
                  <a:gd name="connsiteY4" fmla="*/ 3997993 h 4310063"/>
                  <a:gd name="connsiteX5" fmla="*/ 5229829 w 5353486"/>
                  <a:gd name="connsiteY5" fmla="*/ 3947410 h 4310063"/>
                  <a:gd name="connsiteX6" fmla="*/ 4426759 w 5353486"/>
                  <a:gd name="connsiteY6" fmla="*/ 3108325 h 4310063"/>
                  <a:gd name="connsiteX7" fmla="*/ 4429524 w 5353486"/>
                  <a:gd name="connsiteY7" fmla="*/ 2965450 h 4310063"/>
                  <a:gd name="connsiteX8" fmla="*/ 4474172 w 5353486"/>
                  <a:gd name="connsiteY8" fmla="*/ 2983299 h 4310063"/>
                  <a:gd name="connsiteX9" fmla="*/ 5316539 w 5353486"/>
                  <a:gd name="connsiteY9" fmla="*/ 3863842 h 4310063"/>
                  <a:gd name="connsiteX10" fmla="*/ 5340352 w 5353486"/>
                  <a:gd name="connsiteY10" fmla="*/ 4033406 h 4310063"/>
                  <a:gd name="connsiteX11" fmla="*/ 5230219 w 5353486"/>
                  <a:gd name="connsiteY11" fmla="*/ 4197021 h 4310063"/>
                  <a:gd name="connsiteX12" fmla="*/ 4998047 w 5353486"/>
                  <a:gd name="connsiteY12" fmla="*/ 4310063 h 4310063"/>
                  <a:gd name="connsiteX13" fmla="*/ 4893867 w 5353486"/>
                  <a:gd name="connsiteY13" fmla="*/ 4268416 h 4310063"/>
                  <a:gd name="connsiteX14" fmla="*/ 4051500 w 5353486"/>
                  <a:gd name="connsiteY14" fmla="*/ 3387873 h 4310063"/>
                  <a:gd name="connsiteX15" fmla="*/ 4051500 w 5353486"/>
                  <a:gd name="connsiteY15" fmla="*/ 3304578 h 4310063"/>
                  <a:gd name="connsiteX16" fmla="*/ 4387852 w 5353486"/>
                  <a:gd name="connsiteY16" fmla="*/ 2980324 h 4310063"/>
                  <a:gd name="connsiteX17" fmla="*/ 4429524 w 5353486"/>
                  <a:gd name="connsiteY17" fmla="*/ 2965450 h 4310063"/>
                  <a:gd name="connsiteX18" fmla="*/ 2509837 w 5353486"/>
                  <a:gd name="connsiteY18" fmla="*/ 1616075 h 4310063"/>
                  <a:gd name="connsiteX19" fmla="*/ 2509837 w 5353486"/>
                  <a:gd name="connsiteY19" fmla="*/ 1735138 h 4310063"/>
                  <a:gd name="connsiteX20" fmla="*/ 3462337 w 5353486"/>
                  <a:gd name="connsiteY20" fmla="*/ 1735138 h 4310063"/>
                  <a:gd name="connsiteX21" fmla="*/ 3462337 w 5353486"/>
                  <a:gd name="connsiteY21" fmla="*/ 1616075 h 4310063"/>
                  <a:gd name="connsiteX22" fmla="*/ 2509837 w 5353486"/>
                  <a:gd name="connsiteY22" fmla="*/ 1616075 h 4310063"/>
                  <a:gd name="connsiteX23" fmla="*/ 288925 w 5353486"/>
                  <a:gd name="connsiteY23" fmla="*/ 1616075 h 4310063"/>
                  <a:gd name="connsiteX24" fmla="*/ 288925 w 5353486"/>
                  <a:gd name="connsiteY24" fmla="*/ 1735138 h 4310063"/>
                  <a:gd name="connsiteX25" fmla="*/ 1244600 w 5353486"/>
                  <a:gd name="connsiteY25" fmla="*/ 1735138 h 4310063"/>
                  <a:gd name="connsiteX26" fmla="*/ 1244600 w 5353486"/>
                  <a:gd name="connsiteY26" fmla="*/ 1616075 h 4310063"/>
                  <a:gd name="connsiteX27" fmla="*/ 288925 w 5353486"/>
                  <a:gd name="connsiteY27" fmla="*/ 1616075 h 4310063"/>
                  <a:gd name="connsiteX28" fmla="*/ 2509837 w 5353486"/>
                  <a:gd name="connsiteY28" fmla="*/ 1301750 h 4310063"/>
                  <a:gd name="connsiteX29" fmla="*/ 2509837 w 5353486"/>
                  <a:gd name="connsiteY29" fmla="*/ 1420813 h 4310063"/>
                  <a:gd name="connsiteX30" fmla="*/ 3462337 w 5353486"/>
                  <a:gd name="connsiteY30" fmla="*/ 1420813 h 4310063"/>
                  <a:gd name="connsiteX31" fmla="*/ 3462337 w 5353486"/>
                  <a:gd name="connsiteY31" fmla="*/ 1301750 h 4310063"/>
                  <a:gd name="connsiteX32" fmla="*/ 2509837 w 5353486"/>
                  <a:gd name="connsiteY32" fmla="*/ 1301750 h 4310063"/>
                  <a:gd name="connsiteX33" fmla="*/ 288925 w 5353486"/>
                  <a:gd name="connsiteY33" fmla="*/ 1301750 h 4310063"/>
                  <a:gd name="connsiteX34" fmla="*/ 288925 w 5353486"/>
                  <a:gd name="connsiteY34" fmla="*/ 1420813 h 4310063"/>
                  <a:gd name="connsiteX35" fmla="*/ 1244600 w 5353486"/>
                  <a:gd name="connsiteY35" fmla="*/ 1420813 h 4310063"/>
                  <a:gd name="connsiteX36" fmla="*/ 1244600 w 5353486"/>
                  <a:gd name="connsiteY36" fmla="*/ 1301750 h 4310063"/>
                  <a:gd name="connsiteX37" fmla="*/ 288925 w 5353486"/>
                  <a:gd name="connsiteY37" fmla="*/ 1301750 h 4310063"/>
                  <a:gd name="connsiteX38" fmla="*/ 2703501 w 5353486"/>
                  <a:gd name="connsiteY38" fmla="*/ 1101725 h 4310063"/>
                  <a:gd name="connsiteX39" fmla="*/ 3360846 w 5353486"/>
                  <a:gd name="connsiteY39" fmla="*/ 1101725 h 4310063"/>
                  <a:gd name="connsiteX40" fmla="*/ 3679108 w 5353486"/>
                  <a:gd name="connsiteY40" fmla="*/ 1313215 h 4310063"/>
                  <a:gd name="connsiteX41" fmla="*/ 3786187 w 5353486"/>
                  <a:gd name="connsiteY41" fmla="*/ 1447258 h 4310063"/>
                  <a:gd name="connsiteX42" fmla="*/ 3786187 w 5353486"/>
                  <a:gd name="connsiteY42" fmla="*/ 1894067 h 4310063"/>
                  <a:gd name="connsiteX43" fmla="*/ 3759417 w 5353486"/>
                  <a:gd name="connsiteY43" fmla="*/ 1920875 h 4310063"/>
                  <a:gd name="connsiteX44" fmla="*/ 2138362 w 5353486"/>
                  <a:gd name="connsiteY44" fmla="*/ 1920875 h 4310063"/>
                  <a:gd name="connsiteX45" fmla="*/ 2162158 w 5353486"/>
                  <a:gd name="connsiteY45" fmla="*/ 1736194 h 4310063"/>
                  <a:gd name="connsiteX46" fmla="*/ 2370366 w 5353486"/>
                  <a:gd name="connsiteY46" fmla="*/ 1736194 h 4310063"/>
                  <a:gd name="connsiteX47" fmla="*/ 2370366 w 5353486"/>
                  <a:gd name="connsiteY47" fmla="*/ 1617045 h 4310063"/>
                  <a:gd name="connsiteX48" fmla="*/ 2197851 w 5353486"/>
                  <a:gd name="connsiteY48" fmla="*/ 1617045 h 4310063"/>
                  <a:gd name="connsiteX49" fmla="*/ 2298981 w 5353486"/>
                  <a:gd name="connsiteY49" fmla="*/ 1420449 h 4310063"/>
                  <a:gd name="connsiteX50" fmla="*/ 2370366 w 5353486"/>
                  <a:gd name="connsiteY50" fmla="*/ 1420449 h 4310063"/>
                  <a:gd name="connsiteX51" fmla="*/ 2370366 w 5353486"/>
                  <a:gd name="connsiteY51" fmla="*/ 1331087 h 4310063"/>
                  <a:gd name="connsiteX52" fmla="*/ 2414983 w 5353486"/>
                  <a:gd name="connsiteY52" fmla="*/ 1289385 h 4310063"/>
                  <a:gd name="connsiteX53" fmla="*/ 2703501 w 5353486"/>
                  <a:gd name="connsiteY53" fmla="*/ 1101725 h 4310063"/>
                  <a:gd name="connsiteX54" fmla="*/ 288925 w 5353486"/>
                  <a:gd name="connsiteY54" fmla="*/ 979487 h 4310063"/>
                  <a:gd name="connsiteX55" fmla="*/ 288925 w 5353486"/>
                  <a:gd name="connsiteY55" fmla="*/ 1098550 h 4310063"/>
                  <a:gd name="connsiteX56" fmla="*/ 1244600 w 5353486"/>
                  <a:gd name="connsiteY56" fmla="*/ 1098550 h 4310063"/>
                  <a:gd name="connsiteX57" fmla="*/ 1244600 w 5353486"/>
                  <a:gd name="connsiteY57" fmla="*/ 979487 h 4310063"/>
                  <a:gd name="connsiteX58" fmla="*/ 288925 w 5353486"/>
                  <a:gd name="connsiteY58" fmla="*/ 979487 h 4310063"/>
                  <a:gd name="connsiteX59" fmla="*/ 1417637 w 5353486"/>
                  <a:gd name="connsiteY59" fmla="*/ 663575 h 4310063"/>
                  <a:gd name="connsiteX60" fmla="*/ 1417637 w 5353486"/>
                  <a:gd name="connsiteY60" fmla="*/ 782638 h 4310063"/>
                  <a:gd name="connsiteX61" fmla="*/ 2370137 w 5353486"/>
                  <a:gd name="connsiteY61" fmla="*/ 782638 h 4310063"/>
                  <a:gd name="connsiteX62" fmla="*/ 2370137 w 5353486"/>
                  <a:gd name="connsiteY62" fmla="*/ 663575 h 4310063"/>
                  <a:gd name="connsiteX63" fmla="*/ 1417637 w 5353486"/>
                  <a:gd name="connsiteY63" fmla="*/ 663575 h 4310063"/>
                  <a:gd name="connsiteX64" fmla="*/ 288925 w 5353486"/>
                  <a:gd name="connsiteY64" fmla="*/ 663575 h 4310063"/>
                  <a:gd name="connsiteX65" fmla="*/ 288925 w 5353486"/>
                  <a:gd name="connsiteY65" fmla="*/ 782638 h 4310063"/>
                  <a:gd name="connsiteX66" fmla="*/ 1244600 w 5353486"/>
                  <a:gd name="connsiteY66" fmla="*/ 782638 h 4310063"/>
                  <a:gd name="connsiteX67" fmla="*/ 1244600 w 5353486"/>
                  <a:gd name="connsiteY67" fmla="*/ 663575 h 4310063"/>
                  <a:gd name="connsiteX68" fmla="*/ 288925 w 5353486"/>
                  <a:gd name="connsiteY68" fmla="*/ 663575 h 4310063"/>
                  <a:gd name="connsiteX69" fmla="*/ 2572947 w 5353486"/>
                  <a:gd name="connsiteY69" fmla="*/ 182562 h 4310063"/>
                  <a:gd name="connsiteX70" fmla="*/ 2543175 w 5353486"/>
                  <a:gd name="connsiteY70" fmla="*/ 209288 h 4310063"/>
                  <a:gd name="connsiteX71" fmla="*/ 2543175 w 5353486"/>
                  <a:gd name="connsiteY71" fmla="*/ 405279 h 4310063"/>
                  <a:gd name="connsiteX72" fmla="*/ 2572947 w 5353486"/>
                  <a:gd name="connsiteY72" fmla="*/ 434975 h 4310063"/>
                  <a:gd name="connsiteX73" fmla="*/ 3472056 w 5353486"/>
                  <a:gd name="connsiteY73" fmla="*/ 434975 h 4310063"/>
                  <a:gd name="connsiteX74" fmla="*/ 3498850 w 5353486"/>
                  <a:gd name="connsiteY74" fmla="*/ 405279 h 4310063"/>
                  <a:gd name="connsiteX75" fmla="*/ 3498850 w 5353486"/>
                  <a:gd name="connsiteY75" fmla="*/ 209288 h 4310063"/>
                  <a:gd name="connsiteX76" fmla="*/ 3472056 w 5353486"/>
                  <a:gd name="connsiteY76" fmla="*/ 182562 h 4310063"/>
                  <a:gd name="connsiteX77" fmla="*/ 2572947 w 5353486"/>
                  <a:gd name="connsiteY77" fmla="*/ 182562 h 4310063"/>
                  <a:gd name="connsiteX78" fmla="*/ 1444426 w 5353486"/>
                  <a:gd name="connsiteY78" fmla="*/ 182562 h 4310063"/>
                  <a:gd name="connsiteX79" fmla="*/ 1417637 w 5353486"/>
                  <a:gd name="connsiteY79" fmla="*/ 209288 h 4310063"/>
                  <a:gd name="connsiteX80" fmla="*/ 1417637 w 5353486"/>
                  <a:gd name="connsiteY80" fmla="*/ 405279 h 4310063"/>
                  <a:gd name="connsiteX81" fmla="*/ 1444426 w 5353486"/>
                  <a:gd name="connsiteY81" fmla="*/ 434975 h 4310063"/>
                  <a:gd name="connsiteX82" fmla="*/ 2343348 w 5353486"/>
                  <a:gd name="connsiteY82" fmla="*/ 434975 h 4310063"/>
                  <a:gd name="connsiteX83" fmla="*/ 2370137 w 5353486"/>
                  <a:gd name="connsiteY83" fmla="*/ 405279 h 4310063"/>
                  <a:gd name="connsiteX84" fmla="*/ 2370137 w 5353486"/>
                  <a:gd name="connsiteY84" fmla="*/ 209288 h 4310063"/>
                  <a:gd name="connsiteX85" fmla="*/ 2343348 w 5353486"/>
                  <a:gd name="connsiteY85" fmla="*/ 182562 h 4310063"/>
                  <a:gd name="connsiteX86" fmla="*/ 1444426 w 5353486"/>
                  <a:gd name="connsiteY86" fmla="*/ 182562 h 4310063"/>
                  <a:gd name="connsiteX87" fmla="*/ 315720 w 5353486"/>
                  <a:gd name="connsiteY87" fmla="*/ 182562 h 4310063"/>
                  <a:gd name="connsiteX88" fmla="*/ 288925 w 5353486"/>
                  <a:gd name="connsiteY88" fmla="*/ 209288 h 4310063"/>
                  <a:gd name="connsiteX89" fmla="*/ 288925 w 5353486"/>
                  <a:gd name="connsiteY89" fmla="*/ 405279 h 4310063"/>
                  <a:gd name="connsiteX90" fmla="*/ 315720 w 5353486"/>
                  <a:gd name="connsiteY90" fmla="*/ 434975 h 4310063"/>
                  <a:gd name="connsiteX91" fmla="*/ 1217806 w 5353486"/>
                  <a:gd name="connsiteY91" fmla="*/ 434975 h 4310063"/>
                  <a:gd name="connsiteX92" fmla="*/ 1244600 w 5353486"/>
                  <a:gd name="connsiteY92" fmla="*/ 405279 h 4310063"/>
                  <a:gd name="connsiteX93" fmla="*/ 1244600 w 5353486"/>
                  <a:gd name="connsiteY93" fmla="*/ 209288 h 4310063"/>
                  <a:gd name="connsiteX94" fmla="*/ 1217806 w 5353486"/>
                  <a:gd name="connsiteY94" fmla="*/ 182562 h 4310063"/>
                  <a:gd name="connsiteX95" fmla="*/ 315720 w 5353486"/>
                  <a:gd name="connsiteY95" fmla="*/ 182562 h 4310063"/>
                  <a:gd name="connsiteX96" fmla="*/ 26789 w 5353486"/>
                  <a:gd name="connsiteY96" fmla="*/ 0 h 4310063"/>
                  <a:gd name="connsiteX97" fmla="*/ 3759399 w 5353486"/>
                  <a:gd name="connsiteY97" fmla="*/ 0 h 4310063"/>
                  <a:gd name="connsiteX98" fmla="*/ 3786188 w 5353486"/>
                  <a:gd name="connsiteY98" fmla="*/ 26803 h 4310063"/>
                  <a:gd name="connsiteX99" fmla="*/ 3786188 w 5353486"/>
                  <a:gd name="connsiteY99" fmla="*/ 884496 h 4310063"/>
                  <a:gd name="connsiteX100" fmla="*/ 3461743 w 5353486"/>
                  <a:gd name="connsiteY100" fmla="*/ 717722 h 4310063"/>
                  <a:gd name="connsiteX101" fmla="*/ 3461743 w 5353486"/>
                  <a:gd name="connsiteY101" fmla="*/ 664117 h 4310063"/>
                  <a:gd name="connsiteX102" fmla="*/ 3247430 w 5353486"/>
                  <a:gd name="connsiteY102" fmla="*/ 664117 h 4310063"/>
                  <a:gd name="connsiteX103" fmla="*/ 3033118 w 5353486"/>
                  <a:gd name="connsiteY103" fmla="*/ 646248 h 4310063"/>
                  <a:gd name="connsiteX104" fmla="*/ 2821782 w 5353486"/>
                  <a:gd name="connsiteY104" fmla="*/ 664117 h 4310063"/>
                  <a:gd name="connsiteX105" fmla="*/ 2506266 w 5353486"/>
                  <a:gd name="connsiteY105" fmla="*/ 664117 h 4310063"/>
                  <a:gd name="connsiteX106" fmla="*/ 2506266 w 5353486"/>
                  <a:gd name="connsiteY106" fmla="*/ 756438 h 4310063"/>
                  <a:gd name="connsiteX107" fmla="*/ 2163961 w 5353486"/>
                  <a:gd name="connsiteY107" fmla="*/ 979795 h 4310063"/>
                  <a:gd name="connsiteX108" fmla="*/ 1416844 w 5353486"/>
                  <a:gd name="connsiteY108" fmla="*/ 979795 h 4310063"/>
                  <a:gd name="connsiteX109" fmla="*/ 1416844 w 5353486"/>
                  <a:gd name="connsiteY109" fmla="*/ 1098919 h 4310063"/>
                  <a:gd name="connsiteX110" fmla="*/ 2047875 w 5353486"/>
                  <a:gd name="connsiteY110" fmla="*/ 1098919 h 4310063"/>
                  <a:gd name="connsiteX111" fmla="*/ 1910954 w 5353486"/>
                  <a:gd name="connsiteY111" fmla="*/ 1301430 h 4310063"/>
                  <a:gd name="connsiteX112" fmla="*/ 1416844 w 5353486"/>
                  <a:gd name="connsiteY112" fmla="*/ 1301430 h 4310063"/>
                  <a:gd name="connsiteX113" fmla="*/ 1416844 w 5353486"/>
                  <a:gd name="connsiteY113" fmla="*/ 1420554 h 4310063"/>
                  <a:gd name="connsiteX114" fmla="*/ 1848446 w 5353486"/>
                  <a:gd name="connsiteY114" fmla="*/ 1420554 h 4310063"/>
                  <a:gd name="connsiteX115" fmla="*/ 1782961 w 5353486"/>
                  <a:gd name="connsiteY115" fmla="*/ 1617109 h 4310063"/>
                  <a:gd name="connsiteX116" fmla="*/ 1416844 w 5353486"/>
                  <a:gd name="connsiteY116" fmla="*/ 1617109 h 4310063"/>
                  <a:gd name="connsiteX117" fmla="*/ 1416844 w 5353486"/>
                  <a:gd name="connsiteY117" fmla="*/ 1736233 h 4310063"/>
                  <a:gd name="connsiteX118" fmla="*/ 1759149 w 5353486"/>
                  <a:gd name="connsiteY118" fmla="*/ 1736233 h 4310063"/>
                  <a:gd name="connsiteX119" fmla="*/ 1744266 w 5353486"/>
                  <a:gd name="connsiteY119" fmla="*/ 1920875 h 4310063"/>
                  <a:gd name="connsiteX120" fmla="*/ 26789 w 5353486"/>
                  <a:gd name="connsiteY120" fmla="*/ 1920875 h 4310063"/>
                  <a:gd name="connsiteX121" fmla="*/ 0 w 5353486"/>
                  <a:gd name="connsiteY121" fmla="*/ 1894072 h 4310063"/>
                  <a:gd name="connsiteX122" fmla="*/ 0 w 5353486"/>
                  <a:gd name="connsiteY122" fmla="*/ 26803 h 4310063"/>
                  <a:gd name="connsiteX123" fmla="*/ 26789 w 5353486"/>
                  <a:gd name="connsiteY123" fmla="*/ 0 h 4310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5353486" h="4310063">
                    <a:moveTo>
                      <a:pt x="4426759" y="3108325"/>
                    </a:moveTo>
                    <a:cubicBezTo>
                      <a:pt x="4179889" y="3349339"/>
                      <a:pt x="4179889" y="3349339"/>
                      <a:pt x="4179889" y="3349339"/>
                    </a:cubicBezTo>
                    <a:cubicBezTo>
                      <a:pt x="4979985" y="4188424"/>
                      <a:pt x="4979985" y="4188424"/>
                      <a:pt x="4979985" y="4188424"/>
                    </a:cubicBezTo>
                    <a:cubicBezTo>
                      <a:pt x="4988908" y="4197350"/>
                      <a:pt x="5066241" y="4188424"/>
                      <a:pt x="5146548" y="4111061"/>
                    </a:cubicBezTo>
                    <a:cubicBezTo>
                      <a:pt x="5185214" y="4075356"/>
                      <a:pt x="5211983" y="4033699"/>
                      <a:pt x="5226855" y="3997993"/>
                    </a:cubicBezTo>
                    <a:cubicBezTo>
                      <a:pt x="5238752" y="3968238"/>
                      <a:pt x="5232804" y="3950386"/>
                      <a:pt x="5229829" y="3947410"/>
                    </a:cubicBezTo>
                    <a:cubicBezTo>
                      <a:pt x="4426759" y="3108325"/>
                      <a:pt x="4426759" y="3108325"/>
                      <a:pt x="4426759" y="3108325"/>
                    </a:cubicBezTo>
                    <a:close/>
                    <a:moveTo>
                      <a:pt x="4429524" y="2965450"/>
                    </a:moveTo>
                    <a:cubicBezTo>
                      <a:pt x="4447383" y="2965450"/>
                      <a:pt x="4462266" y="2971400"/>
                      <a:pt x="4474172" y="2983299"/>
                    </a:cubicBezTo>
                    <a:cubicBezTo>
                      <a:pt x="5316539" y="3863842"/>
                      <a:pt x="5316539" y="3863842"/>
                      <a:pt x="5316539" y="3863842"/>
                    </a:cubicBezTo>
                    <a:cubicBezTo>
                      <a:pt x="5355234" y="3905489"/>
                      <a:pt x="5364164" y="3967960"/>
                      <a:pt x="5340352" y="4033406"/>
                    </a:cubicBezTo>
                    <a:cubicBezTo>
                      <a:pt x="5322492" y="4089927"/>
                      <a:pt x="5280820" y="4149424"/>
                      <a:pt x="5230219" y="4197021"/>
                    </a:cubicBezTo>
                    <a:cubicBezTo>
                      <a:pt x="5152828" y="4271391"/>
                      <a:pt x="5069485" y="4310063"/>
                      <a:pt x="4998047" y="4310063"/>
                    </a:cubicBezTo>
                    <a:cubicBezTo>
                      <a:pt x="4956375" y="4310063"/>
                      <a:pt x="4920656" y="4295189"/>
                      <a:pt x="4893867" y="4268416"/>
                    </a:cubicBezTo>
                    <a:cubicBezTo>
                      <a:pt x="4051500" y="3387873"/>
                      <a:pt x="4051500" y="3387873"/>
                      <a:pt x="4051500" y="3387873"/>
                    </a:cubicBezTo>
                    <a:cubicBezTo>
                      <a:pt x="4030664" y="3364074"/>
                      <a:pt x="4030664" y="3328377"/>
                      <a:pt x="4051500" y="3304578"/>
                    </a:cubicBezTo>
                    <a:cubicBezTo>
                      <a:pt x="4387852" y="2980324"/>
                      <a:pt x="4387852" y="2980324"/>
                      <a:pt x="4387852" y="2980324"/>
                    </a:cubicBezTo>
                    <a:cubicBezTo>
                      <a:pt x="4399758" y="2968425"/>
                      <a:pt x="4414641" y="2965450"/>
                      <a:pt x="4429524" y="2965450"/>
                    </a:cubicBezTo>
                    <a:close/>
                    <a:moveTo>
                      <a:pt x="2509837" y="1616075"/>
                    </a:moveTo>
                    <a:cubicBezTo>
                      <a:pt x="2509837" y="1616075"/>
                      <a:pt x="2509837" y="1616075"/>
                      <a:pt x="2509837" y="1735138"/>
                    </a:cubicBezTo>
                    <a:cubicBezTo>
                      <a:pt x="2509837" y="1735138"/>
                      <a:pt x="2509837" y="1735138"/>
                      <a:pt x="3462337" y="1735138"/>
                    </a:cubicBezTo>
                    <a:cubicBezTo>
                      <a:pt x="3462337" y="1735138"/>
                      <a:pt x="3462337" y="1735138"/>
                      <a:pt x="3462337" y="1616075"/>
                    </a:cubicBezTo>
                    <a:cubicBezTo>
                      <a:pt x="3462337" y="1616075"/>
                      <a:pt x="3462337" y="1616075"/>
                      <a:pt x="2509837" y="1616075"/>
                    </a:cubicBezTo>
                    <a:close/>
                    <a:moveTo>
                      <a:pt x="288925" y="1616075"/>
                    </a:moveTo>
                    <a:cubicBezTo>
                      <a:pt x="288925" y="1616075"/>
                      <a:pt x="288925" y="1616075"/>
                      <a:pt x="288925" y="1735138"/>
                    </a:cubicBezTo>
                    <a:cubicBezTo>
                      <a:pt x="288925" y="1735138"/>
                      <a:pt x="288925" y="1735138"/>
                      <a:pt x="1244600" y="1735138"/>
                    </a:cubicBezTo>
                    <a:cubicBezTo>
                      <a:pt x="1244600" y="1735138"/>
                      <a:pt x="1244600" y="1735138"/>
                      <a:pt x="1244600" y="1616075"/>
                    </a:cubicBezTo>
                    <a:cubicBezTo>
                      <a:pt x="1244600" y="1616075"/>
                      <a:pt x="1244600" y="1616075"/>
                      <a:pt x="288925" y="1616075"/>
                    </a:cubicBezTo>
                    <a:close/>
                    <a:moveTo>
                      <a:pt x="2509837" y="1301750"/>
                    </a:moveTo>
                    <a:cubicBezTo>
                      <a:pt x="2509837" y="1301750"/>
                      <a:pt x="2509837" y="1301750"/>
                      <a:pt x="2509837" y="1420813"/>
                    </a:cubicBezTo>
                    <a:cubicBezTo>
                      <a:pt x="2509837" y="1420813"/>
                      <a:pt x="2509837" y="1420813"/>
                      <a:pt x="3462337" y="1420813"/>
                    </a:cubicBezTo>
                    <a:cubicBezTo>
                      <a:pt x="3462337" y="1420813"/>
                      <a:pt x="3462337" y="1420813"/>
                      <a:pt x="3462337" y="1301750"/>
                    </a:cubicBezTo>
                    <a:cubicBezTo>
                      <a:pt x="3462337" y="1301750"/>
                      <a:pt x="3462337" y="1301750"/>
                      <a:pt x="2509837" y="1301750"/>
                    </a:cubicBezTo>
                    <a:close/>
                    <a:moveTo>
                      <a:pt x="288925" y="1301750"/>
                    </a:moveTo>
                    <a:cubicBezTo>
                      <a:pt x="288925" y="1301750"/>
                      <a:pt x="288925" y="1301750"/>
                      <a:pt x="288925" y="1420813"/>
                    </a:cubicBezTo>
                    <a:cubicBezTo>
                      <a:pt x="288925" y="1420813"/>
                      <a:pt x="288925" y="1420813"/>
                      <a:pt x="1244600" y="1420813"/>
                    </a:cubicBezTo>
                    <a:cubicBezTo>
                      <a:pt x="1244600" y="1420813"/>
                      <a:pt x="1244600" y="1420813"/>
                      <a:pt x="1244600" y="1301750"/>
                    </a:cubicBezTo>
                    <a:cubicBezTo>
                      <a:pt x="1244600" y="1301750"/>
                      <a:pt x="1244600" y="1301750"/>
                      <a:pt x="288925" y="1301750"/>
                    </a:cubicBezTo>
                    <a:close/>
                    <a:moveTo>
                      <a:pt x="2703501" y="1101725"/>
                    </a:moveTo>
                    <a:cubicBezTo>
                      <a:pt x="2703501" y="1101725"/>
                      <a:pt x="2703501" y="1101725"/>
                      <a:pt x="3360846" y="1101725"/>
                    </a:cubicBezTo>
                    <a:cubicBezTo>
                      <a:pt x="3479823" y="1149385"/>
                      <a:pt x="3586901" y="1217895"/>
                      <a:pt x="3679108" y="1313215"/>
                    </a:cubicBezTo>
                    <a:cubicBezTo>
                      <a:pt x="3720750" y="1354917"/>
                      <a:pt x="3756443" y="1402577"/>
                      <a:pt x="3786187" y="1447258"/>
                    </a:cubicBezTo>
                    <a:cubicBezTo>
                      <a:pt x="3786187" y="1447258"/>
                      <a:pt x="3786187" y="1447258"/>
                      <a:pt x="3786187" y="1894067"/>
                    </a:cubicBezTo>
                    <a:cubicBezTo>
                      <a:pt x="3786187" y="1905982"/>
                      <a:pt x="3774290" y="1920875"/>
                      <a:pt x="3759417" y="1920875"/>
                    </a:cubicBezTo>
                    <a:cubicBezTo>
                      <a:pt x="3759417" y="1920875"/>
                      <a:pt x="3759417" y="1920875"/>
                      <a:pt x="2138362" y="1920875"/>
                    </a:cubicBezTo>
                    <a:cubicBezTo>
                      <a:pt x="2138362" y="1858322"/>
                      <a:pt x="2147285" y="1795769"/>
                      <a:pt x="2162158" y="1736194"/>
                    </a:cubicBezTo>
                    <a:cubicBezTo>
                      <a:pt x="2162158" y="1736194"/>
                      <a:pt x="2162158" y="1736194"/>
                      <a:pt x="2370366" y="1736194"/>
                    </a:cubicBezTo>
                    <a:cubicBezTo>
                      <a:pt x="2370366" y="1736194"/>
                      <a:pt x="2370366" y="1736194"/>
                      <a:pt x="2370366" y="1617045"/>
                    </a:cubicBezTo>
                    <a:cubicBezTo>
                      <a:pt x="2370366" y="1617045"/>
                      <a:pt x="2370366" y="1617045"/>
                      <a:pt x="2197851" y="1617045"/>
                    </a:cubicBezTo>
                    <a:cubicBezTo>
                      <a:pt x="2221646" y="1548534"/>
                      <a:pt x="2257339" y="1483002"/>
                      <a:pt x="2298981" y="1420449"/>
                    </a:cubicBezTo>
                    <a:cubicBezTo>
                      <a:pt x="2298981" y="1420449"/>
                      <a:pt x="2298981" y="1420449"/>
                      <a:pt x="2370366" y="1420449"/>
                    </a:cubicBezTo>
                    <a:cubicBezTo>
                      <a:pt x="2370366" y="1420449"/>
                      <a:pt x="2370366" y="1420449"/>
                      <a:pt x="2370366" y="1331087"/>
                    </a:cubicBezTo>
                    <a:cubicBezTo>
                      <a:pt x="2385239" y="1319172"/>
                      <a:pt x="2397136" y="1301300"/>
                      <a:pt x="2414983" y="1289385"/>
                    </a:cubicBezTo>
                    <a:cubicBezTo>
                      <a:pt x="2498266" y="1208959"/>
                      <a:pt x="2599396" y="1146406"/>
                      <a:pt x="2703501" y="1101725"/>
                    </a:cubicBezTo>
                    <a:close/>
                    <a:moveTo>
                      <a:pt x="288925" y="979487"/>
                    </a:moveTo>
                    <a:cubicBezTo>
                      <a:pt x="288925" y="979487"/>
                      <a:pt x="288925" y="979487"/>
                      <a:pt x="288925" y="1098550"/>
                    </a:cubicBezTo>
                    <a:cubicBezTo>
                      <a:pt x="288925" y="1098550"/>
                      <a:pt x="288925" y="1098550"/>
                      <a:pt x="1244600" y="1098550"/>
                    </a:cubicBezTo>
                    <a:cubicBezTo>
                      <a:pt x="1244600" y="1098550"/>
                      <a:pt x="1244600" y="1098550"/>
                      <a:pt x="1244600" y="979487"/>
                    </a:cubicBezTo>
                    <a:cubicBezTo>
                      <a:pt x="1244600" y="979487"/>
                      <a:pt x="1244600" y="979487"/>
                      <a:pt x="288925" y="979487"/>
                    </a:cubicBezTo>
                    <a:close/>
                    <a:moveTo>
                      <a:pt x="1417637" y="663575"/>
                    </a:moveTo>
                    <a:cubicBezTo>
                      <a:pt x="1417637" y="663575"/>
                      <a:pt x="1417637" y="663575"/>
                      <a:pt x="1417637" y="782638"/>
                    </a:cubicBezTo>
                    <a:cubicBezTo>
                      <a:pt x="1417637" y="782638"/>
                      <a:pt x="1417637" y="782638"/>
                      <a:pt x="2370137" y="782638"/>
                    </a:cubicBezTo>
                    <a:cubicBezTo>
                      <a:pt x="2370137" y="782638"/>
                      <a:pt x="2370137" y="782638"/>
                      <a:pt x="2370137" y="663575"/>
                    </a:cubicBezTo>
                    <a:cubicBezTo>
                      <a:pt x="2370137" y="663575"/>
                      <a:pt x="2370137" y="663575"/>
                      <a:pt x="1417637" y="663575"/>
                    </a:cubicBezTo>
                    <a:close/>
                    <a:moveTo>
                      <a:pt x="288925" y="663575"/>
                    </a:moveTo>
                    <a:cubicBezTo>
                      <a:pt x="288925" y="663575"/>
                      <a:pt x="288925" y="663575"/>
                      <a:pt x="288925" y="782638"/>
                    </a:cubicBezTo>
                    <a:cubicBezTo>
                      <a:pt x="288925" y="782638"/>
                      <a:pt x="288925" y="782638"/>
                      <a:pt x="1244600" y="782638"/>
                    </a:cubicBezTo>
                    <a:cubicBezTo>
                      <a:pt x="1244600" y="782638"/>
                      <a:pt x="1244600" y="782638"/>
                      <a:pt x="1244600" y="663575"/>
                    </a:cubicBezTo>
                    <a:cubicBezTo>
                      <a:pt x="1244600" y="663575"/>
                      <a:pt x="1244600" y="663575"/>
                      <a:pt x="288925" y="663575"/>
                    </a:cubicBezTo>
                    <a:close/>
                    <a:moveTo>
                      <a:pt x="2572947" y="182562"/>
                    </a:moveTo>
                    <a:cubicBezTo>
                      <a:pt x="2555084" y="182562"/>
                      <a:pt x="2543175" y="194440"/>
                      <a:pt x="2543175" y="209288"/>
                    </a:cubicBezTo>
                    <a:cubicBezTo>
                      <a:pt x="2543175" y="209288"/>
                      <a:pt x="2543175" y="209288"/>
                      <a:pt x="2543175" y="405279"/>
                    </a:cubicBezTo>
                    <a:cubicBezTo>
                      <a:pt x="2543175" y="423097"/>
                      <a:pt x="2555084" y="434975"/>
                      <a:pt x="2572947" y="434975"/>
                    </a:cubicBezTo>
                    <a:cubicBezTo>
                      <a:pt x="2572947" y="434975"/>
                      <a:pt x="2572947" y="434975"/>
                      <a:pt x="3472056" y="434975"/>
                    </a:cubicBezTo>
                    <a:cubicBezTo>
                      <a:pt x="3483964" y="434975"/>
                      <a:pt x="3498850" y="423097"/>
                      <a:pt x="3498850" y="405279"/>
                    </a:cubicBezTo>
                    <a:cubicBezTo>
                      <a:pt x="3498850" y="405279"/>
                      <a:pt x="3498850" y="405279"/>
                      <a:pt x="3498850" y="209288"/>
                    </a:cubicBezTo>
                    <a:cubicBezTo>
                      <a:pt x="3498850" y="194440"/>
                      <a:pt x="3483964" y="182562"/>
                      <a:pt x="3472056" y="182562"/>
                    </a:cubicBezTo>
                    <a:cubicBezTo>
                      <a:pt x="3472056" y="182562"/>
                      <a:pt x="3472056" y="182562"/>
                      <a:pt x="2572947" y="182562"/>
                    </a:cubicBezTo>
                    <a:close/>
                    <a:moveTo>
                      <a:pt x="1444426" y="182562"/>
                    </a:moveTo>
                    <a:cubicBezTo>
                      <a:pt x="1429543" y="182562"/>
                      <a:pt x="1417637" y="194440"/>
                      <a:pt x="1417637" y="209288"/>
                    </a:cubicBezTo>
                    <a:cubicBezTo>
                      <a:pt x="1417637" y="209288"/>
                      <a:pt x="1417637" y="209288"/>
                      <a:pt x="1417637" y="405279"/>
                    </a:cubicBezTo>
                    <a:cubicBezTo>
                      <a:pt x="1417637" y="423097"/>
                      <a:pt x="1429543" y="434975"/>
                      <a:pt x="1444426" y="434975"/>
                    </a:cubicBezTo>
                    <a:cubicBezTo>
                      <a:pt x="1444426" y="434975"/>
                      <a:pt x="1444426" y="434975"/>
                      <a:pt x="2343348" y="434975"/>
                    </a:cubicBezTo>
                    <a:cubicBezTo>
                      <a:pt x="2358231" y="434975"/>
                      <a:pt x="2370137" y="423097"/>
                      <a:pt x="2370137" y="405279"/>
                    </a:cubicBezTo>
                    <a:cubicBezTo>
                      <a:pt x="2370137" y="405279"/>
                      <a:pt x="2370137" y="405279"/>
                      <a:pt x="2370137" y="209288"/>
                    </a:cubicBezTo>
                    <a:cubicBezTo>
                      <a:pt x="2370137" y="194440"/>
                      <a:pt x="2358231" y="182562"/>
                      <a:pt x="2343348" y="182562"/>
                    </a:cubicBezTo>
                    <a:cubicBezTo>
                      <a:pt x="2343348" y="182562"/>
                      <a:pt x="2343348" y="182562"/>
                      <a:pt x="1444426" y="182562"/>
                    </a:cubicBezTo>
                    <a:close/>
                    <a:moveTo>
                      <a:pt x="315720" y="182562"/>
                    </a:moveTo>
                    <a:cubicBezTo>
                      <a:pt x="303811" y="182562"/>
                      <a:pt x="288925" y="194440"/>
                      <a:pt x="288925" y="209288"/>
                    </a:cubicBezTo>
                    <a:cubicBezTo>
                      <a:pt x="288925" y="209288"/>
                      <a:pt x="288925" y="209288"/>
                      <a:pt x="288925" y="405279"/>
                    </a:cubicBezTo>
                    <a:cubicBezTo>
                      <a:pt x="288925" y="423097"/>
                      <a:pt x="303811" y="434975"/>
                      <a:pt x="315720" y="434975"/>
                    </a:cubicBezTo>
                    <a:cubicBezTo>
                      <a:pt x="315720" y="434975"/>
                      <a:pt x="315720" y="434975"/>
                      <a:pt x="1217806" y="434975"/>
                    </a:cubicBezTo>
                    <a:cubicBezTo>
                      <a:pt x="1229714" y="434975"/>
                      <a:pt x="1244600" y="423097"/>
                      <a:pt x="1244600" y="405279"/>
                    </a:cubicBezTo>
                    <a:cubicBezTo>
                      <a:pt x="1244600" y="405279"/>
                      <a:pt x="1244600" y="405279"/>
                      <a:pt x="1244600" y="209288"/>
                    </a:cubicBezTo>
                    <a:cubicBezTo>
                      <a:pt x="1244600" y="194440"/>
                      <a:pt x="1229714" y="182562"/>
                      <a:pt x="1217806" y="182562"/>
                    </a:cubicBezTo>
                    <a:cubicBezTo>
                      <a:pt x="1217806" y="182562"/>
                      <a:pt x="1217806" y="182562"/>
                      <a:pt x="315720" y="182562"/>
                    </a:cubicBezTo>
                    <a:close/>
                    <a:moveTo>
                      <a:pt x="26789" y="0"/>
                    </a:moveTo>
                    <a:cubicBezTo>
                      <a:pt x="26789" y="0"/>
                      <a:pt x="26789" y="0"/>
                      <a:pt x="3759399" y="0"/>
                    </a:cubicBezTo>
                    <a:cubicBezTo>
                      <a:pt x="3774282" y="0"/>
                      <a:pt x="3786188" y="11912"/>
                      <a:pt x="3786188" y="26803"/>
                    </a:cubicBezTo>
                    <a:cubicBezTo>
                      <a:pt x="3786188" y="26803"/>
                      <a:pt x="3786188" y="26803"/>
                      <a:pt x="3786188" y="884496"/>
                    </a:cubicBezTo>
                    <a:cubicBezTo>
                      <a:pt x="3687962" y="813022"/>
                      <a:pt x="3574852" y="759416"/>
                      <a:pt x="3461743" y="717722"/>
                    </a:cubicBezTo>
                    <a:cubicBezTo>
                      <a:pt x="3461743" y="717722"/>
                      <a:pt x="3461743" y="717722"/>
                      <a:pt x="3461743" y="664117"/>
                    </a:cubicBezTo>
                    <a:cubicBezTo>
                      <a:pt x="3461743" y="664117"/>
                      <a:pt x="3461743" y="664117"/>
                      <a:pt x="3247430" y="664117"/>
                    </a:cubicBezTo>
                    <a:cubicBezTo>
                      <a:pt x="3175993" y="649226"/>
                      <a:pt x="3104555" y="646248"/>
                      <a:pt x="3033118" y="646248"/>
                    </a:cubicBezTo>
                    <a:cubicBezTo>
                      <a:pt x="2961680" y="646248"/>
                      <a:pt x="2890243" y="649226"/>
                      <a:pt x="2821782" y="664117"/>
                    </a:cubicBezTo>
                    <a:cubicBezTo>
                      <a:pt x="2821782" y="664117"/>
                      <a:pt x="2821782" y="664117"/>
                      <a:pt x="2506266" y="664117"/>
                    </a:cubicBezTo>
                    <a:cubicBezTo>
                      <a:pt x="2506266" y="664117"/>
                      <a:pt x="2506266" y="664117"/>
                      <a:pt x="2506266" y="756438"/>
                    </a:cubicBezTo>
                    <a:cubicBezTo>
                      <a:pt x="2381250" y="810044"/>
                      <a:pt x="2265164" y="884496"/>
                      <a:pt x="2163961" y="979795"/>
                    </a:cubicBezTo>
                    <a:cubicBezTo>
                      <a:pt x="2163961" y="979795"/>
                      <a:pt x="2163961" y="979795"/>
                      <a:pt x="1416844" y="979795"/>
                    </a:cubicBezTo>
                    <a:cubicBezTo>
                      <a:pt x="1416844" y="979795"/>
                      <a:pt x="1416844" y="979795"/>
                      <a:pt x="1416844" y="1098919"/>
                    </a:cubicBezTo>
                    <a:cubicBezTo>
                      <a:pt x="1416844" y="1098919"/>
                      <a:pt x="1416844" y="1098919"/>
                      <a:pt x="2047875" y="1098919"/>
                    </a:cubicBezTo>
                    <a:cubicBezTo>
                      <a:pt x="1994297" y="1161459"/>
                      <a:pt x="1946672" y="1229956"/>
                      <a:pt x="1910954" y="1301430"/>
                    </a:cubicBezTo>
                    <a:cubicBezTo>
                      <a:pt x="1910954" y="1301430"/>
                      <a:pt x="1910954" y="1301430"/>
                      <a:pt x="1416844" y="1301430"/>
                    </a:cubicBezTo>
                    <a:cubicBezTo>
                      <a:pt x="1416844" y="1301430"/>
                      <a:pt x="1416844" y="1301430"/>
                      <a:pt x="1416844" y="1420554"/>
                    </a:cubicBezTo>
                    <a:cubicBezTo>
                      <a:pt x="1416844" y="1420554"/>
                      <a:pt x="1416844" y="1420554"/>
                      <a:pt x="1848446" y="1420554"/>
                    </a:cubicBezTo>
                    <a:cubicBezTo>
                      <a:pt x="1821657" y="1486072"/>
                      <a:pt x="1800821" y="1548613"/>
                      <a:pt x="1782961" y="1617109"/>
                    </a:cubicBezTo>
                    <a:cubicBezTo>
                      <a:pt x="1782961" y="1617109"/>
                      <a:pt x="1782961" y="1617109"/>
                      <a:pt x="1416844" y="1617109"/>
                    </a:cubicBezTo>
                    <a:cubicBezTo>
                      <a:pt x="1416844" y="1617109"/>
                      <a:pt x="1416844" y="1617109"/>
                      <a:pt x="1416844" y="1736233"/>
                    </a:cubicBezTo>
                    <a:cubicBezTo>
                      <a:pt x="1416844" y="1736233"/>
                      <a:pt x="1416844" y="1736233"/>
                      <a:pt x="1759149" y="1736233"/>
                    </a:cubicBezTo>
                    <a:cubicBezTo>
                      <a:pt x="1750219" y="1795795"/>
                      <a:pt x="1744266" y="1858335"/>
                      <a:pt x="1744266" y="1920875"/>
                    </a:cubicBezTo>
                    <a:cubicBezTo>
                      <a:pt x="1744266" y="1920875"/>
                      <a:pt x="1744266" y="1920875"/>
                      <a:pt x="26789" y="1920875"/>
                    </a:cubicBezTo>
                    <a:cubicBezTo>
                      <a:pt x="11906" y="1920875"/>
                      <a:pt x="0" y="1905985"/>
                      <a:pt x="0" y="1894072"/>
                    </a:cubicBezTo>
                    <a:cubicBezTo>
                      <a:pt x="0" y="1894072"/>
                      <a:pt x="0" y="1894072"/>
                      <a:pt x="0" y="26803"/>
                    </a:cubicBezTo>
                    <a:cubicBezTo>
                      <a:pt x="0" y="11912"/>
                      <a:pt x="11906" y="0"/>
                      <a:pt x="267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236AB66-054F-4550-9988-041A902D7274}"/>
              </a:ext>
            </a:extLst>
          </p:cNvPr>
          <p:cNvGrpSpPr/>
          <p:nvPr/>
        </p:nvGrpSpPr>
        <p:grpSpPr>
          <a:xfrm>
            <a:off x="-1" y="3085706"/>
            <a:ext cx="3361060" cy="738663"/>
            <a:chOff x="-1" y="3112828"/>
            <a:chExt cx="3361060" cy="738663"/>
          </a:xfrm>
        </p:grpSpPr>
        <p:sp>
          <p:nvSpPr>
            <p:cNvPr id="84" name="Rectangle: Top Corners Rounded 83">
              <a:extLst>
                <a:ext uri="{FF2B5EF4-FFF2-40B4-BE49-F238E27FC236}">
                  <a16:creationId xmlns:a16="http://schemas.microsoft.com/office/drawing/2014/main" id="{0C173FF0-8913-4568-BB91-FA2486E67040}"/>
                </a:ext>
              </a:extLst>
            </p:cNvPr>
            <p:cNvSpPr/>
            <p:nvPr/>
          </p:nvSpPr>
          <p:spPr>
            <a:xfrm rot="5400000">
              <a:off x="1311197" y="180163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87" name="ee4pHeader1">
              <a:extLst>
                <a:ext uri="{FF2B5EF4-FFF2-40B4-BE49-F238E27FC236}">
                  <a16:creationId xmlns:a16="http://schemas.microsoft.com/office/drawing/2014/main" id="{5C2CC77A-E351-4906-A254-0267BB6266B1}"/>
                </a:ext>
              </a:extLst>
            </p:cNvPr>
            <p:cNvSpPr txBox="1"/>
            <p:nvPr/>
          </p:nvSpPr>
          <p:spPr>
            <a:xfrm>
              <a:off x="288478" y="3343661"/>
              <a:ext cx="2923073" cy="2769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scrip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8D75762-8BE0-4B52-BFA9-223757726A9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02" y="3258973"/>
              <a:ext cx="445944" cy="446374"/>
              <a:chOff x="5273675" y="2605088"/>
              <a:chExt cx="1644650" cy="1646237"/>
            </a:xfrm>
          </p:grpSpPr>
          <p:sp>
            <p:nvSpPr>
              <p:cNvPr id="97" name="AutoShape 13">
                <a:extLst>
                  <a:ext uri="{FF2B5EF4-FFF2-40B4-BE49-F238E27FC236}">
                    <a16:creationId xmlns:a16="http://schemas.microsoft.com/office/drawing/2014/main" id="{9F6BF7D1-300F-4896-B3BF-701621B621F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FA3813C0-6524-40FD-8EA2-FCDA99765104}"/>
                  </a:ext>
                </a:extLst>
              </p:cNvPr>
              <p:cNvGrpSpPr/>
              <p:nvPr/>
            </p:nvGrpSpPr>
            <p:grpSpPr>
              <a:xfrm>
                <a:off x="5374481" y="2739232"/>
                <a:ext cx="1443038" cy="1377949"/>
                <a:chOff x="5373687" y="2738438"/>
                <a:chExt cx="1443038" cy="1377949"/>
              </a:xfrm>
            </p:grpSpPr>
            <p:sp>
              <p:nvSpPr>
                <p:cNvPr id="99" name="Freeform 15">
                  <a:extLst>
                    <a:ext uri="{FF2B5EF4-FFF2-40B4-BE49-F238E27FC236}">
                      <a16:creationId xmlns:a16="http://schemas.microsoft.com/office/drawing/2014/main" id="{604FED90-904F-456C-80FB-86F95D970F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37225" y="2797175"/>
                  <a:ext cx="701675" cy="582612"/>
                </a:xfrm>
                <a:custGeom>
                  <a:avLst/>
                  <a:gdLst>
                    <a:gd name="T0" fmla="*/ 958 w 983"/>
                    <a:gd name="T1" fmla="*/ 576 h 816"/>
                    <a:gd name="T2" fmla="*/ 960 w 983"/>
                    <a:gd name="T3" fmla="*/ 487 h 816"/>
                    <a:gd name="T4" fmla="*/ 139 w 983"/>
                    <a:gd name="T5" fmla="*/ 142 h 816"/>
                    <a:gd name="T6" fmla="*/ 31 w 983"/>
                    <a:gd name="T7" fmla="*/ 692 h 816"/>
                    <a:gd name="T8" fmla="*/ 48 w 983"/>
                    <a:gd name="T9" fmla="*/ 700 h 816"/>
                    <a:gd name="T10" fmla="*/ 62 w 983"/>
                    <a:gd name="T11" fmla="*/ 695 h 816"/>
                    <a:gd name="T12" fmla="*/ 65 w 983"/>
                    <a:gd name="T13" fmla="*/ 664 h 816"/>
                    <a:gd name="T14" fmla="*/ 87 w 983"/>
                    <a:gd name="T15" fmla="*/ 291 h 816"/>
                    <a:gd name="T16" fmla="*/ 212 w 983"/>
                    <a:gd name="T17" fmla="*/ 414 h 816"/>
                    <a:gd name="T18" fmla="*/ 155 w 983"/>
                    <a:gd name="T19" fmla="*/ 455 h 816"/>
                    <a:gd name="T20" fmla="*/ 242 w 983"/>
                    <a:gd name="T21" fmla="*/ 455 h 816"/>
                    <a:gd name="T22" fmla="*/ 330 w 983"/>
                    <a:gd name="T23" fmla="*/ 364 h 816"/>
                    <a:gd name="T24" fmla="*/ 353 w 983"/>
                    <a:gd name="T25" fmla="*/ 365 h 816"/>
                    <a:gd name="T26" fmla="*/ 408 w 983"/>
                    <a:gd name="T27" fmla="*/ 467 h 816"/>
                    <a:gd name="T28" fmla="*/ 376 w 983"/>
                    <a:gd name="T29" fmla="*/ 659 h 816"/>
                    <a:gd name="T30" fmla="*/ 349 w 983"/>
                    <a:gd name="T31" fmla="*/ 679 h 816"/>
                    <a:gd name="T32" fmla="*/ 170 w 983"/>
                    <a:gd name="T33" fmla="*/ 675 h 816"/>
                    <a:gd name="T34" fmla="*/ 122 w 983"/>
                    <a:gd name="T35" fmla="*/ 676 h 816"/>
                    <a:gd name="T36" fmla="*/ 104 w 983"/>
                    <a:gd name="T37" fmla="*/ 712 h 816"/>
                    <a:gd name="T38" fmla="*/ 147 w 983"/>
                    <a:gd name="T39" fmla="*/ 755 h 816"/>
                    <a:gd name="T40" fmla="*/ 348 w 983"/>
                    <a:gd name="T41" fmla="*/ 723 h 816"/>
                    <a:gd name="T42" fmla="*/ 417 w 983"/>
                    <a:gd name="T43" fmla="*/ 816 h 816"/>
                    <a:gd name="T44" fmla="*/ 420 w 983"/>
                    <a:gd name="T45" fmla="*/ 729 h 816"/>
                    <a:gd name="T46" fmla="*/ 474 w 983"/>
                    <a:gd name="T47" fmla="*/ 740 h 816"/>
                    <a:gd name="T48" fmla="*/ 558 w 983"/>
                    <a:gd name="T49" fmla="*/ 739 h 816"/>
                    <a:gd name="T50" fmla="*/ 617 w 983"/>
                    <a:gd name="T51" fmla="*/ 735 h 816"/>
                    <a:gd name="T52" fmla="*/ 626 w 983"/>
                    <a:gd name="T53" fmla="*/ 816 h 816"/>
                    <a:gd name="T54" fmla="*/ 682 w 983"/>
                    <a:gd name="T55" fmla="*/ 725 h 816"/>
                    <a:gd name="T56" fmla="*/ 852 w 983"/>
                    <a:gd name="T57" fmla="*/ 765 h 816"/>
                    <a:gd name="T58" fmla="*/ 896 w 983"/>
                    <a:gd name="T59" fmla="*/ 721 h 816"/>
                    <a:gd name="T60" fmla="*/ 852 w 983"/>
                    <a:gd name="T61" fmla="*/ 678 h 816"/>
                    <a:gd name="T62" fmla="*/ 683 w 983"/>
                    <a:gd name="T63" fmla="*/ 680 h 816"/>
                    <a:gd name="T64" fmla="*/ 654 w 983"/>
                    <a:gd name="T65" fmla="*/ 659 h 816"/>
                    <a:gd name="T66" fmla="*/ 613 w 983"/>
                    <a:gd name="T67" fmla="*/ 467 h 816"/>
                    <a:gd name="T68" fmla="*/ 674 w 983"/>
                    <a:gd name="T69" fmla="*/ 366 h 816"/>
                    <a:gd name="T70" fmla="*/ 695 w 983"/>
                    <a:gd name="T71" fmla="*/ 361 h 816"/>
                    <a:gd name="T72" fmla="*/ 765 w 983"/>
                    <a:gd name="T73" fmla="*/ 437 h 816"/>
                    <a:gd name="T74" fmla="*/ 852 w 983"/>
                    <a:gd name="T75" fmla="*/ 437 h 816"/>
                    <a:gd name="T76" fmla="*/ 796 w 983"/>
                    <a:gd name="T77" fmla="*/ 395 h 816"/>
                    <a:gd name="T78" fmla="*/ 870 w 983"/>
                    <a:gd name="T79" fmla="*/ 286 h 816"/>
                    <a:gd name="T80" fmla="*/ 916 w 983"/>
                    <a:gd name="T81" fmla="*/ 505 h 816"/>
                    <a:gd name="T82" fmla="*/ 914 w 983"/>
                    <a:gd name="T83" fmla="*/ 572 h 816"/>
                    <a:gd name="T84" fmla="*/ 939 w 983"/>
                    <a:gd name="T85" fmla="*/ 668 h 816"/>
                    <a:gd name="T86" fmla="*/ 977 w 983"/>
                    <a:gd name="T87" fmla="*/ 647 h 816"/>
                    <a:gd name="T88" fmla="*/ 612 w 983"/>
                    <a:gd name="T89" fmla="*/ 673 h 816"/>
                    <a:gd name="T90" fmla="*/ 547 w 983"/>
                    <a:gd name="T91" fmla="*/ 696 h 816"/>
                    <a:gd name="T92" fmla="*/ 484 w 983"/>
                    <a:gd name="T93" fmla="*/ 697 h 816"/>
                    <a:gd name="T94" fmla="*/ 418 w 983"/>
                    <a:gd name="T95" fmla="*/ 673 h 816"/>
                    <a:gd name="T96" fmla="*/ 468 w 983"/>
                    <a:gd name="T97" fmla="*/ 507 h 816"/>
                    <a:gd name="T98" fmla="*/ 532 w 983"/>
                    <a:gd name="T99" fmla="*/ 489 h 816"/>
                    <a:gd name="T100" fmla="*/ 609 w 983"/>
                    <a:gd name="T101" fmla="*/ 665 h 816"/>
                    <a:gd name="T102" fmla="*/ 569 w 983"/>
                    <a:gd name="T103" fmla="*/ 423 h 816"/>
                    <a:gd name="T104" fmla="*/ 489 w 983"/>
                    <a:gd name="T105" fmla="*/ 445 h 816"/>
                    <a:gd name="T106" fmla="*/ 390 w 983"/>
                    <a:gd name="T107" fmla="*/ 341 h 816"/>
                    <a:gd name="T108" fmla="*/ 636 w 983"/>
                    <a:gd name="T109" fmla="*/ 343 h 816"/>
                    <a:gd name="T110" fmla="*/ 703 w 983"/>
                    <a:gd name="T111" fmla="*/ 290 h 816"/>
                    <a:gd name="T112" fmla="*/ 639 w 983"/>
                    <a:gd name="T113" fmla="*/ 297 h 816"/>
                    <a:gd name="T114" fmla="*/ 344 w 983"/>
                    <a:gd name="T115" fmla="*/ 279 h 816"/>
                    <a:gd name="T116" fmla="*/ 109 w 983"/>
                    <a:gd name="T117" fmla="*/ 251 h 816"/>
                    <a:gd name="T118" fmla="*/ 848 w 983"/>
                    <a:gd name="T119" fmla="*/ 246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83" h="816">
                      <a:moveTo>
                        <a:pt x="977" y="647"/>
                      </a:moveTo>
                      <a:cubicBezTo>
                        <a:pt x="958" y="612"/>
                        <a:pt x="957" y="586"/>
                        <a:pt x="958" y="576"/>
                      </a:cubicBezTo>
                      <a:cubicBezTo>
                        <a:pt x="960" y="552"/>
                        <a:pt x="960" y="528"/>
                        <a:pt x="960" y="505"/>
                      </a:cubicBezTo>
                      <a:cubicBezTo>
                        <a:pt x="960" y="499"/>
                        <a:pt x="960" y="493"/>
                        <a:pt x="960" y="487"/>
                      </a:cubicBezTo>
                      <a:cubicBezTo>
                        <a:pt x="960" y="214"/>
                        <a:pt x="749" y="0"/>
                        <a:pt x="481" y="0"/>
                      </a:cubicBezTo>
                      <a:cubicBezTo>
                        <a:pt x="350" y="0"/>
                        <a:pt x="229" y="50"/>
                        <a:pt x="139" y="142"/>
                      </a:cubicBezTo>
                      <a:cubicBezTo>
                        <a:pt x="49" y="234"/>
                        <a:pt x="0" y="356"/>
                        <a:pt x="0" y="487"/>
                      </a:cubicBezTo>
                      <a:cubicBezTo>
                        <a:pt x="0" y="489"/>
                        <a:pt x="2" y="657"/>
                        <a:pt x="31" y="692"/>
                      </a:cubicBezTo>
                      <a:cubicBezTo>
                        <a:pt x="33" y="694"/>
                        <a:pt x="35" y="696"/>
                        <a:pt x="37" y="697"/>
                      </a:cubicBezTo>
                      <a:cubicBezTo>
                        <a:pt x="41" y="699"/>
                        <a:pt x="45" y="700"/>
                        <a:pt x="48" y="700"/>
                      </a:cubicBezTo>
                      <a:cubicBezTo>
                        <a:pt x="49" y="700"/>
                        <a:pt x="49" y="700"/>
                        <a:pt x="50" y="700"/>
                      </a:cubicBezTo>
                      <a:cubicBezTo>
                        <a:pt x="54" y="699"/>
                        <a:pt x="59" y="698"/>
                        <a:pt x="62" y="695"/>
                      </a:cubicBezTo>
                      <a:cubicBezTo>
                        <a:pt x="68" y="690"/>
                        <a:pt x="70" y="684"/>
                        <a:pt x="70" y="677"/>
                      </a:cubicBezTo>
                      <a:cubicBezTo>
                        <a:pt x="70" y="672"/>
                        <a:pt x="68" y="668"/>
                        <a:pt x="65" y="664"/>
                      </a:cubicBezTo>
                      <a:cubicBezTo>
                        <a:pt x="55" y="650"/>
                        <a:pt x="44" y="555"/>
                        <a:pt x="44" y="487"/>
                      </a:cubicBezTo>
                      <a:cubicBezTo>
                        <a:pt x="44" y="416"/>
                        <a:pt x="60" y="350"/>
                        <a:pt x="87" y="291"/>
                      </a:cubicBezTo>
                      <a:cubicBezTo>
                        <a:pt x="299" y="333"/>
                        <a:pt x="299" y="333"/>
                        <a:pt x="299" y="333"/>
                      </a:cubicBezTo>
                      <a:cubicBezTo>
                        <a:pt x="212" y="414"/>
                        <a:pt x="212" y="414"/>
                        <a:pt x="212" y="414"/>
                      </a:cubicBezTo>
                      <a:cubicBezTo>
                        <a:pt x="207" y="413"/>
                        <a:pt x="203" y="412"/>
                        <a:pt x="198" y="412"/>
                      </a:cubicBezTo>
                      <a:cubicBezTo>
                        <a:pt x="174" y="412"/>
                        <a:pt x="155" y="431"/>
                        <a:pt x="155" y="455"/>
                      </a:cubicBezTo>
                      <a:cubicBezTo>
                        <a:pt x="155" y="479"/>
                        <a:pt x="174" y="499"/>
                        <a:pt x="198" y="499"/>
                      </a:cubicBezTo>
                      <a:cubicBezTo>
                        <a:pt x="222" y="499"/>
                        <a:pt x="242" y="479"/>
                        <a:pt x="242" y="455"/>
                      </a:cubicBezTo>
                      <a:cubicBezTo>
                        <a:pt x="242" y="452"/>
                        <a:pt x="242" y="449"/>
                        <a:pt x="241" y="447"/>
                      </a:cubicBezTo>
                      <a:cubicBezTo>
                        <a:pt x="330" y="364"/>
                        <a:pt x="330" y="364"/>
                        <a:pt x="330" y="364"/>
                      </a:cubicBezTo>
                      <a:cubicBezTo>
                        <a:pt x="335" y="365"/>
                        <a:pt x="339" y="366"/>
                        <a:pt x="344" y="366"/>
                      </a:cubicBezTo>
                      <a:cubicBezTo>
                        <a:pt x="347" y="366"/>
                        <a:pt x="350" y="366"/>
                        <a:pt x="353" y="365"/>
                      </a:cubicBezTo>
                      <a:cubicBezTo>
                        <a:pt x="413" y="445"/>
                        <a:pt x="413" y="445"/>
                        <a:pt x="413" y="445"/>
                      </a:cubicBezTo>
                      <a:cubicBezTo>
                        <a:pt x="410" y="451"/>
                        <a:pt x="408" y="459"/>
                        <a:pt x="408" y="467"/>
                      </a:cubicBezTo>
                      <a:cubicBezTo>
                        <a:pt x="408" y="481"/>
                        <a:pt x="414" y="493"/>
                        <a:pt x="424" y="501"/>
                      </a:cubicBezTo>
                      <a:cubicBezTo>
                        <a:pt x="376" y="659"/>
                        <a:pt x="376" y="659"/>
                        <a:pt x="376" y="659"/>
                      </a:cubicBezTo>
                      <a:cubicBezTo>
                        <a:pt x="368" y="661"/>
                        <a:pt x="361" y="665"/>
                        <a:pt x="355" y="671"/>
                      </a:cubicBezTo>
                      <a:cubicBezTo>
                        <a:pt x="353" y="673"/>
                        <a:pt x="350" y="676"/>
                        <a:pt x="349" y="679"/>
                      </a:cubicBezTo>
                      <a:cubicBezTo>
                        <a:pt x="184" y="689"/>
                        <a:pt x="184" y="689"/>
                        <a:pt x="184" y="689"/>
                      </a:cubicBezTo>
                      <a:cubicBezTo>
                        <a:pt x="181" y="683"/>
                        <a:pt x="176" y="679"/>
                        <a:pt x="170" y="675"/>
                      </a:cubicBezTo>
                      <a:cubicBezTo>
                        <a:pt x="164" y="671"/>
                        <a:pt x="156" y="668"/>
                        <a:pt x="147" y="668"/>
                      </a:cubicBezTo>
                      <a:cubicBezTo>
                        <a:pt x="138" y="668"/>
                        <a:pt x="129" y="671"/>
                        <a:pt x="122" y="676"/>
                      </a:cubicBezTo>
                      <a:cubicBezTo>
                        <a:pt x="113" y="683"/>
                        <a:pt x="106" y="694"/>
                        <a:pt x="104" y="706"/>
                      </a:cubicBezTo>
                      <a:cubicBezTo>
                        <a:pt x="104" y="708"/>
                        <a:pt x="104" y="710"/>
                        <a:pt x="104" y="712"/>
                      </a:cubicBezTo>
                      <a:cubicBezTo>
                        <a:pt x="104" y="726"/>
                        <a:pt x="110" y="738"/>
                        <a:pt x="121" y="746"/>
                      </a:cubicBezTo>
                      <a:cubicBezTo>
                        <a:pt x="128" y="752"/>
                        <a:pt x="137" y="755"/>
                        <a:pt x="147" y="755"/>
                      </a:cubicBezTo>
                      <a:cubicBezTo>
                        <a:pt x="164" y="755"/>
                        <a:pt x="178" y="746"/>
                        <a:pt x="185" y="733"/>
                      </a:cubicBezTo>
                      <a:cubicBezTo>
                        <a:pt x="348" y="723"/>
                        <a:pt x="348" y="723"/>
                        <a:pt x="348" y="723"/>
                      </a:cubicBezTo>
                      <a:cubicBezTo>
                        <a:pt x="354" y="734"/>
                        <a:pt x="365" y="743"/>
                        <a:pt x="378" y="745"/>
                      </a:cubicBezTo>
                      <a:cubicBezTo>
                        <a:pt x="417" y="816"/>
                        <a:pt x="417" y="816"/>
                        <a:pt x="417" y="816"/>
                      </a:cubicBezTo>
                      <a:cubicBezTo>
                        <a:pt x="468" y="816"/>
                        <a:pt x="468" y="816"/>
                        <a:pt x="468" y="816"/>
                      </a:cubicBezTo>
                      <a:cubicBezTo>
                        <a:pt x="420" y="729"/>
                        <a:pt x="420" y="729"/>
                        <a:pt x="420" y="729"/>
                      </a:cubicBezTo>
                      <a:cubicBezTo>
                        <a:pt x="420" y="729"/>
                        <a:pt x="420" y="728"/>
                        <a:pt x="420" y="728"/>
                      </a:cubicBezTo>
                      <a:cubicBezTo>
                        <a:pt x="474" y="740"/>
                        <a:pt x="474" y="740"/>
                        <a:pt x="474" y="740"/>
                      </a:cubicBezTo>
                      <a:cubicBezTo>
                        <a:pt x="480" y="758"/>
                        <a:pt x="496" y="771"/>
                        <a:pt x="516" y="771"/>
                      </a:cubicBezTo>
                      <a:cubicBezTo>
                        <a:pt x="536" y="771"/>
                        <a:pt x="553" y="757"/>
                        <a:pt x="558" y="739"/>
                      </a:cubicBezTo>
                      <a:cubicBezTo>
                        <a:pt x="610" y="728"/>
                        <a:pt x="610" y="728"/>
                        <a:pt x="610" y="728"/>
                      </a:cubicBezTo>
                      <a:cubicBezTo>
                        <a:pt x="612" y="731"/>
                        <a:pt x="614" y="733"/>
                        <a:pt x="617" y="735"/>
                      </a:cubicBezTo>
                      <a:cubicBezTo>
                        <a:pt x="577" y="816"/>
                        <a:pt x="577" y="816"/>
                        <a:pt x="577" y="816"/>
                      </a:cubicBezTo>
                      <a:cubicBezTo>
                        <a:pt x="626" y="816"/>
                        <a:pt x="626" y="816"/>
                        <a:pt x="626" y="816"/>
                      </a:cubicBezTo>
                      <a:cubicBezTo>
                        <a:pt x="663" y="741"/>
                        <a:pt x="663" y="741"/>
                        <a:pt x="663" y="741"/>
                      </a:cubicBezTo>
                      <a:cubicBezTo>
                        <a:pt x="671" y="738"/>
                        <a:pt x="677" y="732"/>
                        <a:pt x="682" y="725"/>
                      </a:cubicBezTo>
                      <a:cubicBezTo>
                        <a:pt x="812" y="738"/>
                        <a:pt x="812" y="738"/>
                        <a:pt x="812" y="738"/>
                      </a:cubicBezTo>
                      <a:cubicBezTo>
                        <a:pt x="818" y="754"/>
                        <a:pt x="834" y="765"/>
                        <a:pt x="852" y="765"/>
                      </a:cubicBezTo>
                      <a:cubicBezTo>
                        <a:pt x="858" y="765"/>
                        <a:pt x="863" y="764"/>
                        <a:pt x="868" y="762"/>
                      </a:cubicBezTo>
                      <a:cubicBezTo>
                        <a:pt x="884" y="755"/>
                        <a:pt x="896" y="740"/>
                        <a:pt x="896" y="721"/>
                      </a:cubicBezTo>
                      <a:cubicBezTo>
                        <a:pt x="896" y="717"/>
                        <a:pt x="895" y="713"/>
                        <a:pt x="894" y="709"/>
                      </a:cubicBezTo>
                      <a:cubicBezTo>
                        <a:pt x="889" y="691"/>
                        <a:pt x="872" y="678"/>
                        <a:pt x="852" y="678"/>
                      </a:cubicBezTo>
                      <a:cubicBezTo>
                        <a:pt x="838" y="678"/>
                        <a:pt x="826" y="684"/>
                        <a:pt x="818" y="694"/>
                      </a:cubicBezTo>
                      <a:cubicBezTo>
                        <a:pt x="683" y="680"/>
                        <a:pt x="683" y="680"/>
                        <a:pt x="683" y="680"/>
                      </a:cubicBezTo>
                      <a:cubicBezTo>
                        <a:pt x="679" y="674"/>
                        <a:pt x="673" y="668"/>
                        <a:pt x="666" y="664"/>
                      </a:cubicBezTo>
                      <a:cubicBezTo>
                        <a:pt x="662" y="662"/>
                        <a:pt x="658" y="660"/>
                        <a:pt x="654" y="659"/>
                      </a:cubicBezTo>
                      <a:cubicBezTo>
                        <a:pt x="598" y="499"/>
                        <a:pt x="598" y="499"/>
                        <a:pt x="598" y="499"/>
                      </a:cubicBezTo>
                      <a:cubicBezTo>
                        <a:pt x="607" y="491"/>
                        <a:pt x="613" y="480"/>
                        <a:pt x="613" y="467"/>
                      </a:cubicBezTo>
                      <a:cubicBezTo>
                        <a:pt x="613" y="459"/>
                        <a:pt x="611" y="453"/>
                        <a:pt x="608" y="447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82" y="366"/>
                        <a:pt x="689" y="364"/>
                        <a:pt x="695" y="361"/>
                      </a:cubicBezTo>
                      <a:cubicBezTo>
                        <a:pt x="766" y="427"/>
                        <a:pt x="766" y="427"/>
                        <a:pt x="766" y="427"/>
                      </a:cubicBezTo>
                      <a:cubicBezTo>
                        <a:pt x="765" y="430"/>
                        <a:pt x="765" y="433"/>
                        <a:pt x="765" y="437"/>
                      </a:cubicBezTo>
                      <a:cubicBezTo>
                        <a:pt x="765" y="461"/>
                        <a:pt x="785" y="480"/>
                        <a:pt x="809" y="480"/>
                      </a:cubicBezTo>
                      <a:cubicBezTo>
                        <a:pt x="833" y="480"/>
                        <a:pt x="852" y="461"/>
                        <a:pt x="852" y="437"/>
                      </a:cubicBezTo>
                      <a:cubicBezTo>
                        <a:pt x="852" y="413"/>
                        <a:pt x="833" y="393"/>
                        <a:pt x="809" y="393"/>
                      </a:cubicBezTo>
                      <a:cubicBezTo>
                        <a:pt x="804" y="393"/>
                        <a:pt x="800" y="394"/>
                        <a:pt x="796" y="395"/>
                      </a:cubicBezTo>
                      <a:cubicBezTo>
                        <a:pt x="726" y="329"/>
                        <a:pt x="726" y="329"/>
                        <a:pt x="726" y="329"/>
                      </a:cubicBezTo>
                      <a:cubicBezTo>
                        <a:pt x="870" y="286"/>
                        <a:pt x="870" y="286"/>
                        <a:pt x="870" y="286"/>
                      </a:cubicBezTo>
                      <a:cubicBezTo>
                        <a:pt x="899" y="346"/>
                        <a:pt x="916" y="414"/>
                        <a:pt x="916" y="487"/>
                      </a:cubicBezTo>
                      <a:cubicBezTo>
                        <a:pt x="916" y="493"/>
                        <a:pt x="916" y="499"/>
                        <a:pt x="916" y="505"/>
                      </a:cubicBezTo>
                      <a:cubicBezTo>
                        <a:pt x="916" y="528"/>
                        <a:pt x="916" y="550"/>
                        <a:pt x="914" y="572"/>
                      </a:cubicBezTo>
                      <a:cubicBezTo>
                        <a:pt x="914" y="572"/>
                        <a:pt x="914" y="572"/>
                        <a:pt x="914" y="572"/>
                      </a:cubicBezTo>
                      <a:cubicBezTo>
                        <a:pt x="912" y="598"/>
                        <a:pt x="919" y="629"/>
                        <a:pt x="933" y="658"/>
                      </a:cubicBezTo>
                      <a:cubicBezTo>
                        <a:pt x="935" y="661"/>
                        <a:pt x="937" y="665"/>
                        <a:pt x="939" y="668"/>
                      </a:cubicBezTo>
                      <a:cubicBezTo>
                        <a:pt x="945" y="679"/>
                        <a:pt x="958" y="683"/>
                        <a:pt x="969" y="677"/>
                      </a:cubicBezTo>
                      <a:cubicBezTo>
                        <a:pt x="979" y="671"/>
                        <a:pt x="983" y="657"/>
                        <a:pt x="977" y="647"/>
                      </a:cubicBezTo>
                      <a:close/>
                      <a:moveTo>
                        <a:pt x="609" y="665"/>
                      </a:moveTo>
                      <a:cubicBezTo>
                        <a:pt x="612" y="673"/>
                        <a:pt x="612" y="673"/>
                        <a:pt x="612" y="673"/>
                      </a:cubicBezTo>
                      <a:cubicBezTo>
                        <a:pt x="609" y="677"/>
                        <a:pt x="607" y="680"/>
                        <a:pt x="605" y="684"/>
                      </a:cubicBezTo>
                      <a:cubicBezTo>
                        <a:pt x="547" y="696"/>
                        <a:pt x="547" y="696"/>
                        <a:pt x="547" y="696"/>
                      </a:cubicBezTo>
                      <a:cubicBezTo>
                        <a:pt x="539" y="688"/>
                        <a:pt x="528" y="684"/>
                        <a:pt x="516" y="684"/>
                      </a:cubicBezTo>
                      <a:cubicBezTo>
                        <a:pt x="503" y="684"/>
                        <a:pt x="492" y="689"/>
                        <a:pt x="484" y="697"/>
                      </a:cubicBezTo>
                      <a:cubicBezTo>
                        <a:pt x="425" y="684"/>
                        <a:pt x="425" y="684"/>
                        <a:pt x="425" y="684"/>
                      </a:cubicBezTo>
                      <a:cubicBezTo>
                        <a:pt x="424" y="680"/>
                        <a:pt x="421" y="676"/>
                        <a:pt x="418" y="673"/>
                      </a:cubicBezTo>
                      <a:cubicBezTo>
                        <a:pt x="419" y="669"/>
                        <a:pt x="419" y="669"/>
                        <a:pt x="419" y="669"/>
                      </a:cubicBezTo>
                      <a:cubicBezTo>
                        <a:pt x="468" y="507"/>
                        <a:pt x="468" y="507"/>
                        <a:pt x="468" y="507"/>
                      </a:cubicBezTo>
                      <a:cubicBezTo>
                        <a:pt x="477" y="503"/>
                        <a:pt x="484" y="497"/>
                        <a:pt x="489" y="489"/>
                      </a:cubicBezTo>
                      <a:cubicBezTo>
                        <a:pt x="532" y="489"/>
                        <a:pt x="532" y="489"/>
                        <a:pt x="532" y="489"/>
                      </a:cubicBezTo>
                      <a:cubicBezTo>
                        <a:pt x="537" y="497"/>
                        <a:pt x="545" y="504"/>
                        <a:pt x="554" y="507"/>
                      </a:cubicBezTo>
                      <a:lnTo>
                        <a:pt x="609" y="665"/>
                      </a:lnTo>
                      <a:close/>
                      <a:moveTo>
                        <a:pt x="570" y="423"/>
                      </a:moveTo>
                      <a:cubicBezTo>
                        <a:pt x="570" y="423"/>
                        <a:pt x="570" y="423"/>
                        <a:pt x="569" y="423"/>
                      </a:cubicBezTo>
                      <a:cubicBezTo>
                        <a:pt x="553" y="423"/>
                        <a:pt x="539" y="432"/>
                        <a:pt x="532" y="445"/>
                      </a:cubicBezTo>
                      <a:cubicBezTo>
                        <a:pt x="489" y="445"/>
                        <a:pt x="489" y="445"/>
                        <a:pt x="489" y="445"/>
                      </a:cubicBezTo>
                      <a:cubicBezTo>
                        <a:pt x="481" y="432"/>
                        <a:pt x="468" y="424"/>
                        <a:pt x="452" y="423"/>
                      </a:cubicBezTo>
                      <a:cubicBezTo>
                        <a:pt x="390" y="341"/>
                        <a:pt x="390" y="341"/>
                        <a:pt x="390" y="341"/>
                      </a:cubicBezTo>
                      <a:cubicBezTo>
                        <a:pt x="635" y="341"/>
                        <a:pt x="635" y="341"/>
                        <a:pt x="635" y="341"/>
                      </a:cubicBezTo>
                      <a:cubicBezTo>
                        <a:pt x="635" y="342"/>
                        <a:pt x="636" y="342"/>
                        <a:pt x="636" y="343"/>
                      </a:cubicBezTo>
                      <a:lnTo>
                        <a:pt x="570" y="423"/>
                      </a:lnTo>
                      <a:close/>
                      <a:moveTo>
                        <a:pt x="703" y="290"/>
                      </a:moveTo>
                      <a:cubicBezTo>
                        <a:pt x="696" y="283"/>
                        <a:pt x="686" y="279"/>
                        <a:pt x="674" y="279"/>
                      </a:cubicBezTo>
                      <a:cubicBezTo>
                        <a:pt x="660" y="279"/>
                        <a:pt x="647" y="286"/>
                        <a:pt x="639" y="297"/>
                      </a:cubicBezTo>
                      <a:cubicBezTo>
                        <a:pt x="380" y="297"/>
                        <a:pt x="380" y="297"/>
                        <a:pt x="380" y="297"/>
                      </a:cubicBezTo>
                      <a:cubicBezTo>
                        <a:pt x="372" y="286"/>
                        <a:pt x="359" y="279"/>
                        <a:pt x="344" y="279"/>
                      </a:cubicBezTo>
                      <a:cubicBezTo>
                        <a:pt x="333" y="279"/>
                        <a:pt x="322" y="284"/>
                        <a:pt x="315" y="291"/>
                      </a:cubicBezTo>
                      <a:cubicBezTo>
                        <a:pt x="109" y="251"/>
                        <a:pt x="109" y="251"/>
                        <a:pt x="109" y="251"/>
                      </a:cubicBezTo>
                      <a:cubicBezTo>
                        <a:pt x="186" y="125"/>
                        <a:pt x="322" y="44"/>
                        <a:pt x="481" y="44"/>
                      </a:cubicBezTo>
                      <a:cubicBezTo>
                        <a:pt x="637" y="44"/>
                        <a:pt x="772" y="124"/>
                        <a:pt x="848" y="246"/>
                      </a:cubicBezTo>
                      <a:lnTo>
                        <a:pt x="703" y="2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6">
                  <a:extLst>
                    <a:ext uri="{FF2B5EF4-FFF2-40B4-BE49-F238E27FC236}">
                      <a16:creationId xmlns:a16="http://schemas.microsoft.com/office/drawing/2014/main" id="{8DCD4373-8FB4-4613-9B99-5509853E85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687" y="2738438"/>
                  <a:ext cx="1443038" cy="1377949"/>
                </a:xfrm>
                <a:custGeom>
                  <a:avLst/>
                  <a:gdLst>
                    <a:gd name="connsiteX0" fmla="*/ 1427273 w 1443038"/>
                    <a:gd name="connsiteY0" fmla="*/ 1274762 h 1377949"/>
                    <a:gd name="connsiteX1" fmla="*/ 1443038 w 1443038"/>
                    <a:gd name="connsiteY1" fmla="*/ 1290527 h 1377949"/>
                    <a:gd name="connsiteX2" fmla="*/ 1443038 w 1443038"/>
                    <a:gd name="connsiteY2" fmla="*/ 1362184 h 1377949"/>
                    <a:gd name="connsiteX3" fmla="*/ 1427273 w 1443038"/>
                    <a:gd name="connsiteY3" fmla="*/ 1377949 h 1377949"/>
                    <a:gd name="connsiteX4" fmla="*/ 1355615 w 1443038"/>
                    <a:gd name="connsiteY4" fmla="*/ 1377949 h 1377949"/>
                    <a:gd name="connsiteX5" fmla="*/ 1339850 w 1443038"/>
                    <a:gd name="connsiteY5" fmla="*/ 1362184 h 1377949"/>
                    <a:gd name="connsiteX6" fmla="*/ 1355615 w 1443038"/>
                    <a:gd name="connsiteY6" fmla="*/ 1346420 h 1377949"/>
                    <a:gd name="connsiteX7" fmla="*/ 1411509 w 1443038"/>
                    <a:gd name="connsiteY7" fmla="*/ 1346420 h 1377949"/>
                    <a:gd name="connsiteX8" fmla="*/ 1411509 w 1443038"/>
                    <a:gd name="connsiteY8" fmla="*/ 1290527 h 1377949"/>
                    <a:gd name="connsiteX9" fmla="*/ 1427273 w 1443038"/>
                    <a:gd name="connsiteY9" fmla="*/ 1274762 h 1377949"/>
                    <a:gd name="connsiteX10" fmla="*/ 15765 w 1443038"/>
                    <a:gd name="connsiteY10" fmla="*/ 1274762 h 1377949"/>
                    <a:gd name="connsiteX11" fmla="*/ 31529 w 1443038"/>
                    <a:gd name="connsiteY11" fmla="*/ 1290527 h 1377949"/>
                    <a:gd name="connsiteX12" fmla="*/ 31529 w 1443038"/>
                    <a:gd name="connsiteY12" fmla="*/ 1346420 h 1377949"/>
                    <a:gd name="connsiteX13" fmla="*/ 87423 w 1443038"/>
                    <a:gd name="connsiteY13" fmla="*/ 1346420 h 1377949"/>
                    <a:gd name="connsiteX14" fmla="*/ 103188 w 1443038"/>
                    <a:gd name="connsiteY14" fmla="*/ 1362184 h 1377949"/>
                    <a:gd name="connsiteX15" fmla="*/ 87423 w 1443038"/>
                    <a:gd name="connsiteY15" fmla="*/ 1377949 h 1377949"/>
                    <a:gd name="connsiteX16" fmla="*/ 15765 w 1443038"/>
                    <a:gd name="connsiteY16" fmla="*/ 1377949 h 1377949"/>
                    <a:gd name="connsiteX17" fmla="*/ 0 w 1443038"/>
                    <a:gd name="connsiteY17" fmla="*/ 1362184 h 1377949"/>
                    <a:gd name="connsiteX18" fmla="*/ 0 w 1443038"/>
                    <a:gd name="connsiteY18" fmla="*/ 1290527 h 1377949"/>
                    <a:gd name="connsiteX19" fmla="*/ 15765 w 1443038"/>
                    <a:gd name="connsiteY19" fmla="*/ 1274762 h 1377949"/>
                    <a:gd name="connsiteX20" fmla="*/ 502474 w 1443038"/>
                    <a:gd name="connsiteY20" fmla="*/ 969962 h 1377949"/>
                    <a:gd name="connsiteX21" fmla="*/ 513894 w 1443038"/>
                    <a:gd name="connsiteY21" fmla="*/ 969962 h 1377949"/>
                    <a:gd name="connsiteX22" fmla="*/ 533880 w 1443038"/>
                    <a:gd name="connsiteY22" fmla="*/ 986406 h 1377949"/>
                    <a:gd name="connsiteX23" fmla="*/ 544586 w 1443038"/>
                    <a:gd name="connsiteY23" fmla="*/ 994985 h 1377949"/>
                    <a:gd name="connsiteX24" fmla="*/ 718030 w 1443038"/>
                    <a:gd name="connsiteY24" fmla="*/ 1137261 h 1377949"/>
                    <a:gd name="connsiteX25" fmla="*/ 726595 w 1443038"/>
                    <a:gd name="connsiteY25" fmla="*/ 1136546 h 1377949"/>
                    <a:gd name="connsiteX26" fmla="*/ 900038 w 1443038"/>
                    <a:gd name="connsiteY26" fmla="*/ 994985 h 1377949"/>
                    <a:gd name="connsiteX27" fmla="*/ 910745 w 1443038"/>
                    <a:gd name="connsiteY27" fmla="*/ 986406 h 1377949"/>
                    <a:gd name="connsiteX28" fmla="*/ 930730 w 1443038"/>
                    <a:gd name="connsiteY28" fmla="*/ 969962 h 1377949"/>
                    <a:gd name="connsiteX29" fmla="*/ 942150 w 1443038"/>
                    <a:gd name="connsiteY29" fmla="*/ 969962 h 1377949"/>
                    <a:gd name="connsiteX30" fmla="*/ 1207669 w 1443038"/>
                    <a:gd name="connsiteY30" fmla="*/ 1017149 h 1377949"/>
                    <a:gd name="connsiteX31" fmla="*/ 1363268 w 1443038"/>
                    <a:gd name="connsiteY31" fmla="*/ 1243789 h 1377949"/>
                    <a:gd name="connsiteX32" fmla="*/ 1348279 w 1443038"/>
                    <a:gd name="connsiteY32" fmla="*/ 1265237 h 1377949"/>
                    <a:gd name="connsiteX33" fmla="*/ 96345 w 1443038"/>
                    <a:gd name="connsiteY33" fmla="*/ 1265237 h 1377949"/>
                    <a:gd name="connsiteX34" fmla="*/ 81356 w 1443038"/>
                    <a:gd name="connsiteY34" fmla="*/ 1243789 h 1377949"/>
                    <a:gd name="connsiteX35" fmla="*/ 236956 w 1443038"/>
                    <a:gd name="connsiteY35" fmla="*/ 1017149 h 1377949"/>
                    <a:gd name="connsiteX36" fmla="*/ 502474 w 1443038"/>
                    <a:gd name="connsiteY36" fmla="*/ 969962 h 1377949"/>
                    <a:gd name="connsiteX37" fmla="*/ 461962 w 1443038"/>
                    <a:gd name="connsiteY37" fmla="*/ 736600 h 1377949"/>
                    <a:gd name="connsiteX38" fmla="*/ 496284 w 1443038"/>
                    <a:gd name="connsiteY38" fmla="*/ 736600 h 1377949"/>
                    <a:gd name="connsiteX39" fmla="*/ 559922 w 1443038"/>
                    <a:gd name="connsiteY39" fmla="*/ 858347 h 1377949"/>
                    <a:gd name="connsiteX40" fmla="*/ 567072 w 1443038"/>
                    <a:gd name="connsiteY40" fmla="*/ 864043 h 1377949"/>
                    <a:gd name="connsiteX41" fmla="*/ 595673 w 1443038"/>
                    <a:gd name="connsiteY41" fmla="*/ 885402 h 1377949"/>
                    <a:gd name="connsiteX42" fmla="*/ 721519 w 1443038"/>
                    <a:gd name="connsiteY42" fmla="*/ 938800 h 1377949"/>
                    <a:gd name="connsiteX43" fmla="*/ 847364 w 1443038"/>
                    <a:gd name="connsiteY43" fmla="*/ 885402 h 1377949"/>
                    <a:gd name="connsiteX44" fmla="*/ 875966 w 1443038"/>
                    <a:gd name="connsiteY44" fmla="*/ 864043 h 1377949"/>
                    <a:gd name="connsiteX45" fmla="*/ 883116 w 1443038"/>
                    <a:gd name="connsiteY45" fmla="*/ 858347 h 1377949"/>
                    <a:gd name="connsiteX46" fmla="*/ 946754 w 1443038"/>
                    <a:gd name="connsiteY46" fmla="*/ 736600 h 1377949"/>
                    <a:gd name="connsiteX47" fmla="*/ 981075 w 1443038"/>
                    <a:gd name="connsiteY47" fmla="*/ 736600 h 1377949"/>
                    <a:gd name="connsiteX48" fmla="*/ 918152 w 1443038"/>
                    <a:gd name="connsiteY48" fmla="*/ 864043 h 1377949"/>
                    <a:gd name="connsiteX49" fmla="*/ 910287 w 1443038"/>
                    <a:gd name="connsiteY49" fmla="*/ 874722 h 1377949"/>
                    <a:gd name="connsiteX50" fmla="*/ 910287 w 1443038"/>
                    <a:gd name="connsiteY50" fmla="*/ 916728 h 1377949"/>
                    <a:gd name="connsiteX51" fmla="*/ 910287 w 1443038"/>
                    <a:gd name="connsiteY51" fmla="*/ 945919 h 1377949"/>
                    <a:gd name="connsiteX52" fmla="*/ 878826 w 1443038"/>
                    <a:gd name="connsiteY52" fmla="*/ 971550 h 1377949"/>
                    <a:gd name="connsiteX53" fmla="*/ 878826 w 1443038"/>
                    <a:gd name="connsiteY53" fmla="*/ 939511 h 1377949"/>
                    <a:gd name="connsiteX54" fmla="*/ 878826 w 1443038"/>
                    <a:gd name="connsiteY54" fmla="*/ 901065 h 1377949"/>
                    <a:gd name="connsiteX55" fmla="*/ 847364 w 1443038"/>
                    <a:gd name="connsiteY55" fmla="*/ 922424 h 1377949"/>
                    <a:gd name="connsiteX56" fmla="*/ 721519 w 1443038"/>
                    <a:gd name="connsiteY56" fmla="*/ 970126 h 1377949"/>
                    <a:gd name="connsiteX57" fmla="*/ 595673 w 1443038"/>
                    <a:gd name="connsiteY57" fmla="*/ 922424 h 1377949"/>
                    <a:gd name="connsiteX58" fmla="*/ 564212 w 1443038"/>
                    <a:gd name="connsiteY58" fmla="*/ 901065 h 1377949"/>
                    <a:gd name="connsiteX59" fmla="*/ 564212 w 1443038"/>
                    <a:gd name="connsiteY59" fmla="*/ 939511 h 1377949"/>
                    <a:gd name="connsiteX60" fmla="*/ 564212 w 1443038"/>
                    <a:gd name="connsiteY60" fmla="*/ 971550 h 1377949"/>
                    <a:gd name="connsiteX61" fmla="*/ 532750 w 1443038"/>
                    <a:gd name="connsiteY61" fmla="*/ 945919 h 1377949"/>
                    <a:gd name="connsiteX62" fmla="*/ 532750 w 1443038"/>
                    <a:gd name="connsiteY62" fmla="*/ 916728 h 1377949"/>
                    <a:gd name="connsiteX63" fmla="*/ 532750 w 1443038"/>
                    <a:gd name="connsiteY63" fmla="*/ 874722 h 1377949"/>
                    <a:gd name="connsiteX64" fmla="*/ 524885 w 1443038"/>
                    <a:gd name="connsiteY64" fmla="*/ 864043 h 1377949"/>
                    <a:gd name="connsiteX65" fmla="*/ 461962 w 1443038"/>
                    <a:gd name="connsiteY65" fmla="*/ 736600 h 1377949"/>
                    <a:gd name="connsiteX66" fmla="*/ 195101 w 1443038"/>
                    <a:gd name="connsiteY66" fmla="*/ 673100 h 1377949"/>
                    <a:gd name="connsiteX67" fmla="*/ 396526 w 1443038"/>
                    <a:gd name="connsiteY67" fmla="*/ 673100 h 1377949"/>
                    <a:gd name="connsiteX68" fmla="*/ 435810 w 1443038"/>
                    <a:gd name="connsiteY68" fmla="*/ 673100 h 1377949"/>
                    <a:gd name="connsiteX69" fmla="*/ 470095 w 1443038"/>
                    <a:gd name="connsiteY69" fmla="*/ 673100 h 1377949"/>
                    <a:gd name="connsiteX70" fmla="*/ 503666 w 1443038"/>
                    <a:gd name="connsiteY70" fmla="*/ 673100 h 1377949"/>
                    <a:gd name="connsiteX71" fmla="*/ 679377 w 1443038"/>
                    <a:gd name="connsiteY71" fmla="*/ 673100 h 1377949"/>
                    <a:gd name="connsiteX72" fmla="*/ 715090 w 1443038"/>
                    <a:gd name="connsiteY72" fmla="*/ 673100 h 1377949"/>
                    <a:gd name="connsiteX73" fmla="*/ 760804 w 1443038"/>
                    <a:gd name="connsiteY73" fmla="*/ 673100 h 1377949"/>
                    <a:gd name="connsiteX74" fmla="*/ 795803 w 1443038"/>
                    <a:gd name="connsiteY74" fmla="*/ 673100 h 1377949"/>
                    <a:gd name="connsiteX75" fmla="*/ 939371 w 1443038"/>
                    <a:gd name="connsiteY75" fmla="*/ 673100 h 1377949"/>
                    <a:gd name="connsiteX76" fmla="*/ 972942 w 1443038"/>
                    <a:gd name="connsiteY76" fmla="*/ 673100 h 1377949"/>
                    <a:gd name="connsiteX77" fmla="*/ 1007227 w 1443038"/>
                    <a:gd name="connsiteY77" fmla="*/ 673100 h 1377949"/>
                    <a:gd name="connsiteX78" fmla="*/ 1046512 w 1443038"/>
                    <a:gd name="connsiteY78" fmla="*/ 673100 h 1377949"/>
                    <a:gd name="connsiteX79" fmla="*/ 1247936 w 1443038"/>
                    <a:gd name="connsiteY79" fmla="*/ 673100 h 1377949"/>
                    <a:gd name="connsiteX80" fmla="*/ 1263650 w 1443038"/>
                    <a:gd name="connsiteY80" fmla="*/ 688975 h 1377949"/>
                    <a:gd name="connsiteX81" fmla="*/ 1247936 w 1443038"/>
                    <a:gd name="connsiteY81" fmla="*/ 704850 h 1377949"/>
                    <a:gd name="connsiteX82" fmla="*/ 1027941 w 1443038"/>
                    <a:gd name="connsiteY82" fmla="*/ 704850 h 1377949"/>
                    <a:gd name="connsiteX83" fmla="*/ 994370 w 1443038"/>
                    <a:gd name="connsiteY83" fmla="*/ 704850 h 1377949"/>
                    <a:gd name="connsiteX84" fmla="*/ 960085 w 1443038"/>
                    <a:gd name="connsiteY84" fmla="*/ 704850 h 1377949"/>
                    <a:gd name="connsiteX85" fmla="*/ 925800 w 1443038"/>
                    <a:gd name="connsiteY85" fmla="*/ 704850 h 1377949"/>
                    <a:gd name="connsiteX86" fmla="*/ 770089 w 1443038"/>
                    <a:gd name="connsiteY86" fmla="*/ 704850 h 1377949"/>
                    <a:gd name="connsiteX87" fmla="*/ 705805 w 1443038"/>
                    <a:gd name="connsiteY87" fmla="*/ 704850 h 1377949"/>
                    <a:gd name="connsiteX88" fmla="*/ 517237 w 1443038"/>
                    <a:gd name="connsiteY88" fmla="*/ 704850 h 1377949"/>
                    <a:gd name="connsiteX89" fmla="*/ 482952 w 1443038"/>
                    <a:gd name="connsiteY89" fmla="*/ 704850 h 1377949"/>
                    <a:gd name="connsiteX90" fmla="*/ 448667 w 1443038"/>
                    <a:gd name="connsiteY90" fmla="*/ 704850 h 1377949"/>
                    <a:gd name="connsiteX91" fmla="*/ 415097 w 1443038"/>
                    <a:gd name="connsiteY91" fmla="*/ 704850 h 1377949"/>
                    <a:gd name="connsiteX92" fmla="*/ 195101 w 1443038"/>
                    <a:gd name="connsiteY92" fmla="*/ 704850 h 1377949"/>
                    <a:gd name="connsiteX93" fmla="*/ 179387 w 1443038"/>
                    <a:gd name="connsiteY93" fmla="*/ 688975 h 1377949"/>
                    <a:gd name="connsiteX94" fmla="*/ 195101 w 1443038"/>
                    <a:gd name="connsiteY94" fmla="*/ 673100 h 1377949"/>
                    <a:gd name="connsiteX95" fmla="*/ 1062037 w 1443038"/>
                    <a:gd name="connsiteY95" fmla="*/ 579437 h 1377949"/>
                    <a:gd name="connsiteX96" fmla="*/ 1062037 w 1443038"/>
                    <a:gd name="connsiteY96" fmla="*/ 581548 h 1377949"/>
                    <a:gd name="connsiteX97" fmla="*/ 1034263 w 1443038"/>
                    <a:gd name="connsiteY97" fmla="*/ 641349 h 1377949"/>
                    <a:gd name="connsiteX98" fmla="*/ 985837 w 1443038"/>
                    <a:gd name="connsiteY98" fmla="*/ 641349 h 1377949"/>
                    <a:gd name="connsiteX99" fmla="*/ 992959 w 1443038"/>
                    <a:gd name="connsiteY99" fmla="*/ 633610 h 1377949"/>
                    <a:gd name="connsiteX100" fmla="*/ 1025718 w 1443038"/>
                    <a:gd name="connsiteY100" fmla="*/ 596322 h 1377949"/>
                    <a:gd name="connsiteX101" fmla="*/ 1062037 w 1443038"/>
                    <a:gd name="connsiteY101" fmla="*/ 579437 h 1377949"/>
                    <a:gd name="connsiteX102" fmla="*/ 381000 w 1443038"/>
                    <a:gd name="connsiteY102" fmla="*/ 579437 h 1377949"/>
                    <a:gd name="connsiteX103" fmla="*/ 417320 w 1443038"/>
                    <a:gd name="connsiteY103" fmla="*/ 596322 h 1377949"/>
                    <a:gd name="connsiteX104" fmla="*/ 450079 w 1443038"/>
                    <a:gd name="connsiteY104" fmla="*/ 633610 h 1377949"/>
                    <a:gd name="connsiteX105" fmla="*/ 457200 w 1443038"/>
                    <a:gd name="connsiteY105" fmla="*/ 641349 h 1377949"/>
                    <a:gd name="connsiteX106" fmla="*/ 408774 w 1443038"/>
                    <a:gd name="connsiteY106" fmla="*/ 641349 h 1377949"/>
                    <a:gd name="connsiteX107" fmla="*/ 381000 w 1443038"/>
                    <a:gd name="connsiteY107" fmla="*/ 582955 h 1377949"/>
                    <a:gd name="connsiteX108" fmla="*/ 381000 w 1443038"/>
                    <a:gd name="connsiteY108" fmla="*/ 579437 h 1377949"/>
                    <a:gd name="connsiteX109" fmla="*/ 1355615 w 1443038"/>
                    <a:gd name="connsiteY109" fmla="*/ 0 h 1377949"/>
                    <a:gd name="connsiteX110" fmla="*/ 1427273 w 1443038"/>
                    <a:gd name="connsiteY110" fmla="*/ 0 h 1377949"/>
                    <a:gd name="connsiteX111" fmla="*/ 1443038 w 1443038"/>
                    <a:gd name="connsiteY111" fmla="*/ 15765 h 1377949"/>
                    <a:gd name="connsiteX112" fmla="*/ 1443038 w 1443038"/>
                    <a:gd name="connsiteY112" fmla="*/ 87422 h 1377949"/>
                    <a:gd name="connsiteX113" fmla="*/ 1427273 w 1443038"/>
                    <a:gd name="connsiteY113" fmla="*/ 103187 h 1377949"/>
                    <a:gd name="connsiteX114" fmla="*/ 1411509 w 1443038"/>
                    <a:gd name="connsiteY114" fmla="*/ 87422 h 1377949"/>
                    <a:gd name="connsiteX115" fmla="*/ 1411509 w 1443038"/>
                    <a:gd name="connsiteY115" fmla="*/ 31529 h 1377949"/>
                    <a:gd name="connsiteX116" fmla="*/ 1355615 w 1443038"/>
                    <a:gd name="connsiteY116" fmla="*/ 31529 h 1377949"/>
                    <a:gd name="connsiteX117" fmla="*/ 1339850 w 1443038"/>
                    <a:gd name="connsiteY117" fmla="*/ 15765 h 1377949"/>
                    <a:gd name="connsiteX118" fmla="*/ 1355615 w 1443038"/>
                    <a:gd name="connsiteY118" fmla="*/ 0 h 1377949"/>
                    <a:gd name="connsiteX119" fmla="*/ 15765 w 1443038"/>
                    <a:gd name="connsiteY119" fmla="*/ 0 h 1377949"/>
                    <a:gd name="connsiteX120" fmla="*/ 87423 w 1443038"/>
                    <a:gd name="connsiteY120" fmla="*/ 0 h 1377949"/>
                    <a:gd name="connsiteX121" fmla="*/ 103188 w 1443038"/>
                    <a:gd name="connsiteY121" fmla="*/ 15765 h 1377949"/>
                    <a:gd name="connsiteX122" fmla="*/ 87423 w 1443038"/>
                    <a:gd name="connsiteY122" fmla="*/ 31529 h 1377949"/>
                    <a:gd name="connsiteX123" fmla="*/ 31529 w 1443038"/>
                    <a:gd name="connsiteY123" fmla="*/ 31529 h 1377949"/>
                    <a:gd name="connsiteX124" fmla="*/ 31529 w 1443038"/>
                    <a:gd name="connsiteY124" fmla="*/ 87422 h 1377949"/>
                    <a:gd name="connsiteX125" fmla="*/ 15765 w 1443038"/>
                    <a:gd name="connsiteY125" fmla="*/ 103187 h 1377949"/>
                    <a:gd name="connsiteX126" fmla="*/ 0 w 1443038"/>
                    <a:gd name="connsiteY126" fmla="*/ 87422 h 1377949"/>
                    <a:gd name="connsiteX127" fmla="*/ 0 w 1443038"/>
                    <a:gd name="connsiteY127" fmla="*/ 15765 h 1377949"/>
                    <a:gd name="connsiteX128" fmla="*/ 15765 w 1443038"/>
                    <a:gd name="connsiteY128" fmla="*/ 0 h 1377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1443038" h="1377949">
                      <a:moveTo>
                        <a:pt x="1427273" y="1274762"/>
                      </a:moveTo>
                      <a:cubicBezTo>
                        <a:pt x="1435872" y="1274762"/>
                        <a:pt x="1443038" y="1281928"/>
                        <a:pt x="1443038" y="1290527"/>
                      </a:cubicBezTo>
                      <a:cubicBezTo>
                        <a:pt x="1443038" y="1290527"/>
                        <a:pt x="1443038" y="1290527"/>
                        <a:pt x="1443038" y="1362184"/>
                      </a:cubicBezTo>
                      <a:cubicBezTo>
                        <a:pt x="1443038" y="1371500"/>
                        <a:pt x="1435872" y="1377949"/>
                        <a:pt x="1427273" y="1377949"/>
                      </a:cubicBezTo>
                      <a:cubicBezTo>
                        <a:pt x="1427273" y="1377949"/>
                        <a:pt x="1427273" y="1377949"/>
                        <a:pt x="1355615" y="1377949"/>
                      </a:cubicBezTo>
                      <a:cubicBezTo>
                        <a:pt x="1347016" y="1377949"/>
                        <a:pt x="1339850" y="1371500"/>
                        <a:pt x="1339850" y="1362184"/>
                      </a:cubicBezTo>
                      <a:cubicBezTo>
                        <a:pt x="1339850" y="1353586"/>
                        <a:pt x="1347016" y="1346420"/>
                        <a:pt x="1355615" y="1346420"/>
                      </a:cubicBezTo>
                      <a:cubicBezTo>
                        <a:pt x="1355615" y="1346420"/>
                        <a:pt x="1355615" y="1346420"/>
                        <a:pt x="1411509" y="1346420"/>
                      </a:cubicBezTo>
                      <a:cubicBezTo>
                        <a:pt x="1411509" y="1346420"/>
                        <a:pt x="1411509" y="1346420"/>
                        <a:pt x="1411509" y="1290527"/>
                      </a:cubicBezTo>
                      <a:cubicBezTo>
                        <a:pt x="1411509" y="1281928"/>
                        <a:pt x="1418674" y="1274762"/>
                        <a:pt x="1427273" y="1274762"/>
                      </a:cubicBezTo>
                      <a:close/>
                      <a:moveTo>
                        <a:pt x="15765" y="1274762"/>
                      </a:moveTo>
                      <a:cubicBezTo>
                        <a:pt x="24364" y="1274762"/>
                        <a:pt x="31529" y="1281928"/>
                        <a:pt x="31529" y="1290527"/>
                      </a:cubicBezTo>
                      <a:cubicBezTo>
                        <a:pt x="31529" y="1290527"/>
                        <a:pt x="31529" y="1290527"/>
                        <a:pt x="31529" y="1346420"/>
                      </a:cubicBezTo>
                      <a:cubicBezTo>
                        <a:pt x="31529" y="1346420"/>
                        <a:pt x="31529" y="1346420"/>
                        <a:pt x="87423" y="1346420"/>
                      </a:cubicBezTo>
                      <a:cubicBezTo>
                        <a:pt x="96022" y="1346420"/>
                        <a:pt x="103188" y="1353586"/>
                        <a:pt x="103188" y="1362184"/>
                      </a:cubicBezTo>
                      <a:cubicBezTo>
                        <a:pt x="103188" y="1371500"/>
                        <a:pt x="96022" y="1377949"/>
                        <a:pt x="87423" y="1377949"/>
                      </a:cubicBezTo>
                      <a:cubicBezTo>
                        <a:pt x="87423" y="1377949"/>
                        <a:pt x="87423" y="1377949"/>
                        <a:pt x="15765" y="1377949"/>
                      </a:cubicBezTo>
                      <a:cubicBezTo>
                        <a:pt x="7166" y="1377949"/>
                        <a:pt x="0" y="1371500"/>
                        <a:pt x="0" y="1362184"/>
                      </a:cubicBezTo>
                      <a:cubicBezTo>
                        <a:pt x="0" y="1362184"/>
                        <a:pt x="0" y="1362184"/>
                        <a:pt x="0" y="1290527"/>
                      </a:cubicBezTo>
                      <a:cubicBezTo>
                        <a:pt x="0" y="1281928"/>
                        <a:pt x="7166" y="1274762"/>
                        <a:pt x="15765" y="1274762"/>
                      </a:cubicBezTo>
                      <a:close/>
                      <a:moveTo>
                        <a:pt x="502474" y="969962"/>
                      </a:moveTo>
                      <a:cubicBezTo>
                        <a:pt x="509612" y="969962"/>
                        <a:pt x="513894" y="969962"/>
                        <a:pt x="513894" y="969962"/>
                      </a:cubicBezTo>
                      <a:cubicBezTo>
                        <a:pt x="513894" y="969962"/>
                        <a:pt x="521032" y="975682"/>
                        <a:pt x="533880" y="986406"/>
                      </a:cubicBezTo>
                      <a:cubicBezTo>
                        <a:pt x="537448" y="989266"/>
                        <a:pt x="541017" y="992126"/>
                        <a:pt x="544586" y="994985"/>
                      </a:cubicBezTo>
                      <a:cubicBezTo>
                        <a:pt x="588839" y="1032163"/>
                        <a:pt x="671635" y="1100083"/>
                        <a:pt x="718030" y="1137261"/>
                      </a:cubicBezTo>
                      <a:cubicBezTo>
                        <a:pt x="720885" y="1138691"/>
                        <a:pt x="724453" y="1138691"/>
                        <a:pt x="726595" y="1136546"/>
                      </a:cubicBezTo>
                      <a:cubicBezTo>
                        <a:pt x="787264" y="1087929"/>
                        <a:pt x="860068" y="1028588"/>
                        <a:pt x="900038" y="994985"/>
                      </a:cubicBezTo>
                      <a:cubicBezTo>
                        <a:pt x="903607" y="992126"/>
                        <a:pt x="907176" y="989266"/>
                        <a:pt x="910745" y="986406"/>
                      </a:cubicBezTo>
                      <a:cubicBezTo>
                        <a:pt x="923592" y="975682"/>
                        <a:pt x="930730" y="969962"/>
                        <a:pt x="930730" y="969962"/>
                      </a:cubicBezTo>
                      <a:cubicBezTo>
                        <a:pt x="930730" y="969962"/>
                        <a:pt x="935013" y="969962"/>
                        <a:pt x="942150" y="969962"/>
                      </a:cubicBezTo>
                      <a:cubicBezTo>
                        <a:pt x="982835" y="971392"/>
                        <a:pt x="1124873" y="978542"/>
                        <a:pt x="1207669" y="1017149"/>
                      </a:cubicBezTo>
                      <a:cubicBezTo>
                        <a:pt x="1286182" y="1052897"/>
                        <a:pt x="1343283" y="1190882"/>
                        <a:pt x="1363268" y="1243789"/>
                      </a:cubicBezTo>
                      <a:cubicBezTo>
                        <a:pt x="1366837" y="1253798"/>
                        <a:pt x="1359700" y="1265237"/>
                        <a:pt x="1348279" y="1265237"/>
                      </a:cubicBezTo>
                      <a:cubicBezTo>
                        <a:pt x="1348279" y="1265237"/>
                        <a:pt x="1348279" y="1265237"/>
                        <a:pt x="96345" y="1265237"/>
                      </a:cubicBezTo>
                      <a:cubicBezTo>
                        <a:pt x="84924" y="1265237"/>
                        <a:pt x="77787" y="1253798"/>
                        <a:pt x="81356" y="1243789"/>
                      </a:cubicBezTo>
                      <a:cubicBezTo>
                        <a:pt x="101341" y="1190882"/>
                        <a:pt x="158442" y="1052897"/>
                        <a:pt x="236956" y="1017149"/>
                      </a:cubicBezTo>
                      <a:cubicBezTo>
                        <a:pt x="319752" y="978542"/>
                        <a:pt x="461790" y="971392"/>
                        <a:pt x="502474" y="969962"/>
                      </a:cubicBezTo>
                      <a:close/>
                      <a:moveTo>
                        <a:pt x="461962" y="736600"/>
                      </a:moveTo>
                      <a:cubicBezTo>
                        <a:pt x="461962" y="736600"/>
                        <a:pt x="461962" y="736600"/>
                        <a:pt x="496284" y="736600"/>
                      </a:cubicBezTo>
                      <a:cubicBezTo>
                        <a:pt x="520595" y="792846"/>
                        <a:pt x="547051" y="846955"/>
                        <a:pt x="559922" y="858347"/>
                      </a:cubicBezTo>
                      <a:cubicBezTo>
                        <a:pt x="562067" y="860483"/>
                        <a:pt x="564927" y="861907"/>
                        <a:pt x="567072" y="864043"/>
                      </a:cubicBezTo>
                      <a:cubicBezTo>
                        <a:pt x="574937" y="870450"/>
                        <a:pt x="584948" y="877570"/>
                        <a:pt x="595673" y="885402"/>
                      </a:cubicBezTo>
                      <a:cubicBezTo>
                        <a:pt x="634285" y="911033"/>
                        <a:pt x="687912" y="938800"/>
                        <a:pt x="721519" y="938800"/>
                      </a:cubicBezTo>
                      <a:cubicBezTo>
                        <a:pt x="755125" y="938800"/>
                        <a:pt x="808753" y="911033"/>
                        <a:pt x="847364" y="885402"/>
                      </a:cubicBezTo>
                      <a:cubicBezTo>
                        <a:pt x="858090" y="877570"/>
                        <a:pt x="868100" y="870450"/>
                        <a:pt x="875966" y="864043"/>
                      </a:cubicBezTo>
                      <a:cubicBezTo>
                        <a:pt x="878111" y="861907"/>
                        <a:pt x="880971" y="860483"/>
                        <a:pt x="883116" y="858347"/>
                      </a:cubicBezTo>
                      <a:cubicBezTo>
                        <a:pt x="895986" y="846955"/>
                        <a:pt x="922443" y="792846"/>
                        <a:pt x="946754" y="736600"/>
                      </a:cubicBezTo>
                      <a:cubicBezTo>
                        <a:pt x="946754" y="736600"/>
                        <a:pt x="946754" y="736600"/>
                        <a:pt x="981075" y="736600"/>
                      </a:cubicBezTo>
                      <a:cubicBezTo>
                        <a:pt x="961769" y="782878"/>
                        <a:pt x="936743" y="835564"/>
                        <a:pt x="918152" y="864043"/>
                      </a:cubicBezTo>
                      <a:cubicBezTo>
                        <a:pt x="915292" y="868315"/>
                        <a:pt x="912432" y="871874"/>
                        <a:pt x="910287" y="874722"/>
                      </a:cubicBezTo>
                      <a:cubicBezTo>
                        <a:pt x="910287" y="874722"/>
                        <a:pt x="910287" y="874722"/>
                        <a:pt x="910287" y="916728"/>
                      </a:cubicBezTo>
                      <a:cubicBezTo>
                        <a:pt x="910287" y="916728"/>
                        <a:pt x="910287" y="916728"/>
                        <a:pt x="910287" y="945919"/>
                      </a:cubicBezTo>
                      <a:cubicBezTo>
                        <a:pt x="908142" y="947343"/>
                        <a:pt x="896701" y="957311"/>
                        <a:pt x="878826" y="971550"/>
                      </a:cubicBezTo>
                      <a:lnTo>
                        <a:pt x="878826" y="939511"/>
                      </a:lnTo>
                      <a:cubicBezTo>
                        <a:pt x="878826" y="939511"/>
                        <a:pt x="878826" y="939511"/>
                        <a:pt x="878826" y="901065"/>
                      </a:cubicBezTo>
                      <a:cubicBezTo>
                        <a:pt x="869530" y="908185"/>
                        <a:pt x="858805" y="915305"/>
                        <a:pt x="847364" y="922424"/>
                      </a:cubicBezTo>
                      <a:cubicBezTo>
                        <a:pt x="807323" y="946631"/>
                        <a:pt x="757985" y="970126"/>
                        <a:pt x="721519" y="970126"/>
                      </a:cubicBezTo>
                      <a:cubicBezTo>
                        <a:pt x="685052" y="970126"/>
                        <a:pt x="635715" y="946631"/>
                        <a:pt x="595673" y="922424"/>
                      </a:cubicBezTo>
                      <a:cubicBezTo>
                        <a:pt x="584233" y="915305"/>
                        <a:pt x="573507" y="908185"/>
                        <a:pt x="564212" y="901065"/>
                      </a:cubicBezTo>
                      <a:cubicBezTo>
                        <a:pt x="564212" y="901065"/>
                        <a:pt x="564212" y="901065"/>
                        <a:pt x="564212" y="939511"/>
                      </a:cubicBezTo>
                      <a:cubicBezTo>
                        <a:pt x="564212" y="939511"/>
                        <a:pt x="564212" y="939511"/>
                        <a:pt x="564212" y="971550"/>
                      </a:cubicBezTo>
                      <a:cubicBezTo>
                        <a:pt x="547051" y="957311"/>
                        <a:pt x="534895" y="947343"/>
                        <a:pt x="532750" y="945919"/>
                      </a:cubicBezTo>
                      <a:cubicBezTo>
                        <a:pt x="532750" y="945919"/>
                        <a:pt x="532750" y="945919"/>
                        <a:pt x="532750" y="916728"/>
                      </a:cubicBezTo>
                      <a:cubicBezTo>
                        <a:pt x="532750" y="916728"/>
                        <a:pt x="532750" y="916728"/>
                        <a:pt x="532750" y="874722"/>
                      </a:cubicBezTo>
                      <a:cubicBezTo>
                        <a:pt x="530605" y="871874"/>
                        <a:pt x="527745" y="868315"/>
                        <a:pt x="524885" y="864043"/>
                      </a:cubicBezTo>
                      <a:cubicBezTo>
                        <a:pt x="506294" y="835564"/>
                        <a:pt x="481268" y="782878"/>
                        <a:pt x="461962" y="736600"/>
                      </a:cubicBezTo>
                      <a:close/>
                      <a:moveTo>
                        <a:pt x="195101" y="673100"/>
                      </a:moveTo>
                      <a:cubicBezTo>
                        <a:pt x="195101" y="673100"/>
                        <a:pt x="195101" y="673100"/>
                        <a:pt x="396526" y="673100"/>
                      </a:cubicBezTo>
                      <a:cubicBezTo>
                        <a:pt x="396526" y="673100"/>
                        <a:pt x="396526" y="673100"/>
                        <a:pt x="435810" y="673100"/>
                      </a:cubicBezTo>
                      <a:cubicBezTo>
                        <a:pt x="435810" y="673100"/>
                        <a:pt x="435810" y="673100"/>
                        <a:pt x="470095" y="673100"/>
                      </a:cubicBezTo>
                      <a:cubicBezTo>
                        <a:pt x="470095" y="673100"/>
                        <a:pt x="470095" y="673100"/>
                        <a:pt x="503666" y="673100"/>
                      </a:cubicBezTo>
                      <a:cubicBezTo>
                        <a:pt x="503666" y="673100"/>
                        <a:pt x="503666" y="673100"/>
                        <a:pt x="679377" y="673100"/>
                      </a:cubicBezTo>
                      <a:cubicBezTo>
                        <a:pt x="679377" y="673100"/>
                        <a:pt x="679377" y="673100"/>
                        <a:pt x="715090" y="673100"/>
                      </a:cubicBezTo>
                      <a:cubicBezTo>
                        <a:pt x="715090" y="673100"/>
                        <a:pt x="715090" y="673100"/>
                        <a:pt x="760804" y="673100"/>
                      </a:cubicBezTo>
                      <a:cubicBezTo>
                        <a:pt x="760804" y="673100"/>
                        <a:pt x="760804" y="673100"/>
                        <a:pt x="795803" y="673100"/>
                      </a:cubicBezTo>
                      <a:cubicBezTo>
                        <a:pt x="795803" y="673100"/>
                        <a:pt x="795803" y="673100"/>
                        <a:pt x="939371" y="673100"/>
                      </a:cubicBezTo>
                      <a:cubicBezTo>
                        <a:pt x="939371" y="673100"/>
                        <a:pt x="939371" y="673100"/>
                        <a:pt x="972942" y="673100"/>
                      </a:cubicBezTo>
                      <a:cubicBezTo>
                        <a:pt x="972942" y="673100"/>
                        <a:pt x="972942" y="673100"/>
                        <a:pt x="1007227" y="673100"/>
                      </a:cubicBezTo>
                      <a:cubicBezTo>
                        <a:pt x="1007227" y="673100"/>
                        <a:pt x="1007227" y="673100"/>
                        <a:pt x="1046512" y="673100"/>
                      </a:cubicBezTo>
                      <a:cubicBezTo>
                        <a:pt x="1046512" y="673100"/>
                        <a:pt x="1046512" y="673100"/>
                        <a:pt x="1247936" y="673100"/>
                      </a:cubicBezTo>
                      <a:cubicBezTo>
                        <a:pt x="1256507" y="673100"/>
                        <a:pt x="1263650" y="680316"/>
                        <a:pt x="1263650" y="688975"/>
                      </a:cubicBezTo>
                      <a:cubicBezTo>
                        <a:pt x="1263650" y="697634"/>
                        <a:pt x="1256507" y="704850"/>
                        <a:pt x="1247936" y="704850"/>
                      </a:cubicBezTo>
                      <a:cubicBezTo>
                        <a:pt x="1247936" y="704850"/>
                        <a:pt x="1247936" y="704850"/>
                        <a:pt x="1027941" y="704850"/>
                      </a:cubicBezTo>
                      <a:cubicBezTo>
                        <a:pt x="1027941" y="704850"/>
                        <a:pt x="1027941" y="704850"/>
                        <a:pt x="994370" y="704850"/>
                      </a:cubicBezTo>
                      <a:cubicBezTo>
                        <a:pt x="994370" y="704850"/>
                        <a:pt x="994370" y="704850"/>
                        <a:pt x="960085" y="704850"/>
                      </a:cubicBezTo>
                      <a:cubicBezTo>
                        <a:pt x="960085" y="704850"/>
                        <a:pt x="960085" y="704850"/>
                        <a:pt x="925800" y="704850"/>
                      </a:cubicBezTo>
                      <a:cubicBezTo>
                        <a:pt x="925800" y="704850"/>
                        <a:pt x="925800" y="704850"/>
                        <a:pt x="770089" y="704850"/>
                      </a:cubicBezTo>
                      <a:cubicBezTo>
                        <a:pt x="770089" y="704850"/>
                        <a:pt x="770089" y="704850"/>
                        <a:pt x="705805" y="704850"/>
                      </a:cubicBezTo>
                      <a:cubicBezTo>
                        <a:pt x="705805" y="704850"/>
                        <a:pt x="705805" y="704850"/>
                        <a:pt x="517237" y="704850"/>
                      </a:cubicBezTo>
                      <a:cubicBezTo>
                        <a:pt x="517237" y="704850"/>
                        <a:pt x="517237" y="704850"/>
                        <a:pt x="482952" y="704850"/>
                      </a:cubicBezTo>
                      <a:cubicBezTo>
                        <a:pt x="482952" y="704850"/>
                        <a:pt x="482952" y="704850"/>
                        <a:pt x="448667" y="704850"/>
                      </a:cubicBezTo>
                      <a:cubicBezTo>
                        <a:pt x="448667" y="704850"/>
                        <a:pt x="448667" y="704850"/>
                        <a:pt x="415097" y="704850"/>
                      </a:cubicBezTo>
                      <a:cubicBezTo>
                        <a:pt x="415097" y="704850"/>
                        <a:pt x="415097" y="704850"/>
                        <a:pt x="195101" y="704850"/>
                      </a:cubicBezTo>
                      <a:cubicBezTo>
                        <a:pt x="186530" y="704850"/>
                        <a:pt x="179387" y="697634"/>
                        <a:pt x="179387" y="688975"/>
                      </a:cubicBezTo>
                      <a:cubicBezTo>
                        <a:pt x="179387" y="680316"/>
                        <a:pt x="186530" y="673100"/>
                        <a:pt x="195101" y="673100"/>
                      </a:cubicBezTo>
                      <a:close/>
                      <a:moveTo>
                        <a:pt x="1062037" y="579437"/>
                      </a:moveTo>
                      <a:cubicBezTo>
                        <a:pt x="1062037" y="580140"/>
                        <a:pt x="1062037" y="580844"/>
                        <a:pt x="1062037" y="581548"/>
                      </a:cubicBezTo>
                      <a:cubicBezTo>
                        <a:pt x="1059901" y="594211"/>
                        <a:pt x="1054204" y="620243"/>
                        <a:pt x="1034263" y="641349"/>
                      </a:cubicBezTo>
                      <a:cubicBezTo>
                        <a:pt x="1034263" y="641349"/>
                        <a:pt x="1034263" y="641349"/>
                        <a:pt x="985837" y="641349"/>
                      </a:cubicBezTo>
                      <a:cubicBezTo>
                        <a:pt x="987262" y="637831"/>
                        <a:pt x="990110" y="635721"/>
                        <a:pt x="992959" y="633610"/>
                      </a:cubicBezTo>
                      <a:cubicBezTo>
                        <a:pt x="1010762" y="625167"/>
                        <a:pt x="1020733" y="609689"/>
                        <a:pt x="1025718" y="596322"/>
                      </a:cubicBezTo>
                      <a:cubicBezTo>
                        <a:pt x="1025718" y="596322"/>
                        <a:pt x="1025718" y="596322"/>
                        <a:pt x="1062037" y="579437"/>
                      </a:cubicBezTo>
                      <a:close/>
                      <a:moveTo>
                        <a:pt x="381000" y="579437"/>
                      </a:moveTo>
                      <a:cubicBezTo>
                        <a:pt x="381000" y="579437"/>
                        <a:pt x="381000" y="579437"/>
                        <a:pt x="417320" y="596322"/>
                      </a:cubicBezTo>
                      <a:cubicBezTo>
                        <a:pt x="422305" y="609689"/>
                        <a:pt x="432275" y="625167"/>
                        <a:pt x="450079" y="633610"/>
                      </a:cubicBezTo>
                      <a:cubicBezTo>
                        <a:pt x="452927" y="635721"/>
                        <a:pt x="455776" y="637831"/>
                        <a:pt x="457200" y="641349"/>
                      </a:cubicBezTo>
                      <a:cubicBezTo>
                        <a:pt x="457200" y="641349"/>
                        <a:pt x="457200" y="641349"/>
                        <a:pt x="408774" y="641349"/>
                      </a:cubicBezTo>
                      <a:cubicBezTo>
                        <a:pt x="390258" y="621650"/>
                        <a:pt x="383849" y="597729"/>
                        <a:pt x="381000" y="582955"/>
                      </a:cubicBezTo>
                      <a:cubicBezTo>
                        <a:pt x="381000" y="582251"/>
                        <a:pt x="381000" y="580844"/>
                        <a:pt x="381000" y="579437"/>
                      </a:cubicBezTo>
                      <a:close/>
                      <a:moveTo>
                        <a:pt x="1355615" y="0"/>
                      </a:moveTo>
                      <a:cubicBezTo>
                        <a:pt x="1355615" y="0"/>
                        <a:pt x="1355615" y="0"/>
                        <a:pt x="1427273" y="0"/>
                      </a:cubicBezTo>
                      <a:cubicBezTo>
                        <a:pt x="1435872" y="0"/>
                        <a:pt x="1443038" y="6449"/>
                        <a:pt x="1443038" y="15765"/>
                      </a:cubicBezTo>
                      <a:cubicBezTo>
                        <a:pt x="1443038" y="15765"/>
                        <a:pt x="1443038" y="15765"/>
                        <a:pt x="1443038" y="87422"/>
                      </a:cubicBezTo>
                      <a:cubicBezTo>
                        <a:pt x="1443038" y="96021"/>
                        <a:pt x="1435872" y="103187"/>
                        <a:pt x="1427273" y="103187"/>
                      </a:cubicBezTo>
                      <a:cubicBezTo>
                        <a:pt x="1418674" y="103187"/>
                        <a:pt x="1411509" y="96021"/>
                        <a:pt x="1411509" y="87422"/>
                      </a:cubicBezTo>
                      <a:cubicBezTo>
                        <a:pt x="1411509" y="87422"/>
                        <a:pt x="1411509" y="87422"/>
                        <a:pt x="1411509" y="31529"/>
                      </a:cubicBezTo>
                      <a:cubicBezTo>
                        <a:pt x="1411509" y="31529"/>
                        <a:pt x="1411509" y="31529"/>
                        <a:pt x="1355615" y="31529"/>
                      </a:cubicBezTo>
                      <a:cubicBezTo>
                        <a:pt x="1347016" y="31529"/>
                        <a:pt x="1339850" y="24363"/>
                        <a:pt x="1339850" y="15765"/>
                      </a:cubicBezTo>
                      <a:cubicBezTo>
                        <a:pt x="1339850" y="6449"/>
                        <a:pt x="1347016" y="0"/>
                        <a:pt x="1355615" y="0"/>
                      </a:cubicBezTo>
                      <a:close/>
                      <a:moveTo>
                        <a:pt x="15765" y="0"/>
                      </a:moveTo>
                      <a:cubicBezTo>
                        <a:pt x="15765" y="0"/>
                        <a:pt x="15765" y="0"/>
                        <a:pt x="87423" y="0"/>
                      </a:cubicBezTo>
                      <a:cubicBezTo>
                        <a:pt x="96022" y="0"/>
                        <a:pt x="103188" y="6449"/>
                        <a:pt x="103188" y="15765"/>
                      </a:cubicBezTo>
                      <a:cubicBezTo>
                        <a:pt x="103188" y="24363"/>
                        <a:pt x="96022" y="31529"/>
                        <a:pt x="87423" y="31529"/>
                      </a:cubicBezTo>
                      <a:cubicBezTo>
                        <a:pt x="87423" y="31529"/>
                        <a:pt x="87423" y="31529"/>
                        <a:pt x="31529" y="31529"/>
                      </a:cubicBezTo>
                      <a:cubicBezTo>
                        <a:pt x="31529" y="31529"/>
                        <a:pt x="31529" y="31529"/>
                        <a:pt x="31529" y="87422"/>
                      </a:cubicBezTo>
                      <a:cubicBezTo>
                        <a:pt x="31529" y="96021"/>
                        <a:pt x="24364" y="103187"/>
                        <a:pt x="15765" y="103187"/>
                      </a:cubicBezTo>
                      <a:cubicBezTo>
                        <a:pt x="7166" y="103187"/>
                        <a:pt x="0" y="96021"/>
                        <a:pt x="0" y="87422"/>
                      </a:cubicBezTo>
                      <a:cubicBezTo>
                        <a:pt x="0" y="87422"/>
                        <a:pt x="0" y="87422"/>
                        <a:pt x="0" y="15765"/>
                      </a:cubicBezTo>
                      <a:cubicBezTo>
                        <a:pt x="0" y="6449"/>
                        <a:pt x="7166" y="0"/>
                        <a:pt x="1576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F6928CB-B297-4D0E-AAC1-D7E4116242CD}"/>
              </a:ext>
            </a:extLst>
          </p:cNvPr>
          <p:cNvGrpSpPr/>
          <p:nvPr/>
        </p:nvGrpSpPr>
        <p:grpSpPr>
          <a:xfrm>
            <a:off x="-1" y="4660141"/>
            <a:ext cx="3361060" cy="738663"/>
            <a:chOff x="-1" y="4660141"/>
            <a:chExt cx="3361060" cy="738663"/>
          </a:xfrm>
        </p:grpSpPr>
        <p:sp>
          <p:nvSpPr>
            <p:cNvPr id="86" name="Rectangle: Top Corners Rounded 85">
              <a:extLst>
                <a:ext uri="{FF2B5EF4-FFF2-40B4-BE49-F238E27FC236}">
                  <a16:creationId xmlns:a16="http://schemas.microsoft.com/office/drawing/2014/main" id="{7AF2CDA3-0174-4AAC-8781-F47F68AD7B29}"/>
                </a:ext>
              </a:extLst>
            </p:cNvPr>
            <p:cNvSpPr/>
            <p:nvPr/>
          </p:nvSpPr>
          <p:spPr>
            <a:xfrm rot="5400000">
              <a:off x="1311197" y="3348943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0" name="ee4pHeader1">
              <a:extLst>
                <a:ext uri="{FF2B5EF4-FFF2-40B4-BE49-F238E27FC236}">
                  <a16:creationId xmlns:a16="http://schemas.microsoft.com/office/drawing/2014/main" id="{EF97FBC2-2E30-4229-9D75-A356AE27C052}"/>
                </a:ext>
              </a:extLst>
            </p:cNvPr>
            <p:cNvSpPr txBox="1"/>
            <p:nvPr/>
          </p:nvSpPr>
          <p:spPr>
            <a:xfrm>
              <a:off x="288478" y="4752474"/>
              <a:ext cx="2923073" cy="55399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Ejempl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grup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incluíd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009F30D-384B-4632-AA6F-AE249919451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94" y="4806286"/>
              <a:ext cx="446374" cy="446374"/>
              <a:chOff x="5273803" y="2606803"/>
              <a:chExt cx="1645920" cy="1645920"/>
            </a:xfrm>
          </p:grpSpPr>
          <p:sp>
            <p:nvSpPr>
              <p:cNvPr id="102" name="AutoShape 23">
                <a:extLst>
                  <a:ext uri="{FF2B5EF4-FFF2-40B4-BE49-F238E27FC236}">
                    <a16:creationId xmlns:a16="http://schemas.microsoft.com/office/drawing/2014/main" id="{04C55FE9-0F5B-4708-80F5-73419412111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B07F9EC5-3A38-4242-A9E1-96507F14DD81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104" name="Freeform 25">
                  <a:extLst>
                    <a:ext uri="{FF2B5EF4-FFF2-40B4-BE49-F238E27FC236}">
                      <a16:creationId xmlns:a16="http://schemas.microsoft.com/office/drawing/2014/main" id="{8A0B4826-79DC-4439-A1FB-66B8B5B26D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26">
                  <a:extLst>
                    <a:ext uri="{FF2B5EF4-FFF2-40B4-BE49-F238E27FC236}">
                      <a16:creationId xmlns:a16="http://schemas.microsoft.com/office/drawing/2014/main" id="{BAE75992-CD0C-4BA8-AC17-3501DDE4EA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8FAC4440-AC1B-4747-B90B-8A477C9C51D3}"/>
              </a:ext>
            </a:extLst>
          </p:cNvPr>
          <p:cNvCxnSpPr/>
          <p:nvPr/>
        </p:nvCxnSpPr>
        <p:spPr>
          <a:xfrm>
            <a:off x="3602381" y="4752474"/>
            <a:ext cx="830114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FB0E63FB-2934-4EDB-93D0-32F372838486}"/>
              </a:ext>
            </a:extLst>
          </p:cNvPr>
          <p:cNvCxnSpPr/>
          <p:nvPr/>
        </p:nvCxnSpPr>
        <p:spPr>
          <a:xfrm>
            <a:off x="3602381" y="2367739"/>
            <a:ext cx="830114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e4pFootnotes">
            <a:extLst>
              <a:ext uri="{FF2B5EF4-FFF2-40B4-BE49-F238E27FC236}">
                <a16:creationId xmlns:a16="http://schemas.microsoft.com/office/drawing/2014/main" id="{A36137ED-0E36-4175-B76C-646B1F5BE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476" y="6676169"/>
            <a:ext cx="11615045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1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Guía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COVID-19 para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ivien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omparti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ongrega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https://www.cdc.gov/coronavirus/2019-ncov/community/shared-congregate-house/guidance-shared-congregate-housing.html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F8094F2-C734-4A95-B640-53976D9786AE}"/>
              </a:ext>
            </a:extLst>
          </p:cNvPr>
          <p:cNvGrpSpPr/>
          <p:nvPr/>
        </p:nvGrpSpPr>
        <p:grpSpPr>
          <a:xfrm>
            <a:off x="-1" y="1445448"/>
            <a:ext cx="3361060" cy="738664"/>
            <a:chOff x="-1" y="1445448"/>
            <a:chExt cx="3361060" cy="738664"/>
          </a:xfrm>
        </p:grpSpPr>
        <p:sp>
          <p:nvSpPr>
            <p:cNvPr id="48" name="Rectangle: Top Corners Rounded 47">
              <a:extLst>
                <a:ext uri="{FF2B5EF4-FFF2-40B4-BE49-F238E27FC236}">
                  <a16:creationId xmlns:a16="http://schemas.microsoft.com/office/drawing/2014/main" id="{5B5844FB-6CFC-4EB3-B988-1D95E0D193B3}"/>
                </a:ext>
              </a:extLst>
            </p:cNvPr>
            <p:cNvSpPr/>
            <p:nvPr/>
          </p:nvSpPr>
          <p:spPr>
            <a:xfrm rot="5400000">
              <a:off x="1311197" y="13425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49" name="ee4pHeader1">
              <a:extLst>
                <a:ext uri="{FF2B5EF4-FFF2-40B4-BE49-F238E27FC236}">
                  <a16:creationId xmlns:a16="http://schemas.microsoft.com/office/drawing/2014/main" id="{2BC5F046-913D-4803-8F88-645E433610F5}"/>
                </a:ext>
              </a:extLst>
            </p:cNvPr>
            <p:cNvSpPr txBox="1"/>
            <p:nvPr/>
          </p:nvSpPr>
          <p:spPr>
            <a:xfrm>
              <a:off x="288478" y="1445448"/>
              <a:ext cx="2923073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ctr" anchorCtr="0">
              <a:no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fini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FDF268F-FB32-4BF0-B4DB-9FAA472219CB}"/>
              </a:ext>
            </a:extLst>
          </p:cNvPr>
          <p:cNvGrpSpPr>
            <a:grpSpLocks noChangeAspect="1"/>
          </p:cNvGrpSpPr>
          <p:nvPr/>
        </p:nvGrpSpPr>
        <p:grpSpPr>
          <a:xfrm>
            <a:off x="318702" y="1591593"/>
            <a:ext cx="446806" cy="446374"/>
            <a:chOff x="5273675" y="2606675"/>
            <a:chExt cx="1646238" cy="1644650"/>
          </a:xfrm>
        </p:grpSpPr>
        <p:sp>
          <p:nvSpPr>
            <p:cNvPr id="51" name="AutoShape 3">
              <a:extLst>
                <a:ext uri="{FF2B5EF4-FFF2-40B4-BE49-F238E27FC236}">
                  <a16:creationId xmlns:a16="http://schemas.microsoft.com/office/drawing/2014/main" id="{97716344-ECDB-47B1-9E4F-2E0A17F3840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22FE1F5-BE0C-4DDA-B3C8-5608C9508901}"/>
                </a:ext>
              </a:extLst>
            </p:cNvPr>
            <p:cNvGrpSpPr/>
            <p:nvPr/>
          </p:nvGrpSpPr>
          <p:grpSpPr>
            <a:xfrm>
              <a:off x="5651500" y="2971800"/>
              <a:ext cx="892175" cy="1109663"/>
              <a:chOff x="5651500" y="2971800"/>
              <a:chExt cx="892175" cy="1109663"/>
            </a:xfrm>
          </p:grpSpPr>
          <p:sp>
            <p:nvSpPr>
              <p:cNvPr id="53" name="Freeform 20">
                <a:extLst>
                  <a:ext uri="{FF2B5EF4-FFF2-40B4-BE49-F238E27FC236}">
                    <a16:creationId xmlns:a16="http://schemas.microsoft.com/office/drawing/2014/main" id="{CC5B8E1D-1528-477F-97E6-BDB31F6B3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2971800"/>
                <a:ext cx="892175" cy="1109663"/>
              </a:xfrm>
              <a:custGeom>
                <a:avLst/>
                <a:gdLst>
                  <a:gd name="connsiteX0" fmla="*/ 30163 w 892175"/>
                  <a:gd name="connsiteY0" fmla="*/ 198438 h 1109663"/>
                  <a:gd name="connsiteX1" fmla="*/ 30163 w 892175"/>
                  <a:gd name="connsiteY1" fmla="*/ 1077913 h 1109663"/>
                  <a:gd name="connsiteX2" fmla="*/ 654051 w 892175"/>
                  <a:gd name="connsiteY2" fmla="*/ 1077913 h 1109663"/>
                  <a:gd name="connsiteX3" fmla="*/ 654051 w 892175"/>
                  <a:gd name="connsiteY3" fmla="*/ 942976 h 1109663"/>
                  <a:gd name="connsiteX4" fmla="*/ 654051 w 892175"/>
                  <a:gd name="connsiteY4" fmla="*/ 927101 h 1109663"/>
                  <a:gd name="connsiteX5" fmla="*/ 654051 w 892175"/>
                  <a:gd name="connsiteY5" fmla="*/ 911226 h 1109663"/>
                  <a:gd name="connsiteX6" fmla="*/ 654051 w 892175"/>
                  <a:gd name="connsiteY6" fmla="*/ 198438 h 1109663"/>
                  <a:gd name="connsiteX7" fmla="*/ 238126 w 892175"/>
                  <a:gd name="connsiteY7" fmla="*/ 198438 h 1109663"/>
                  <a:gd name="connsiteX8" fmla="*/ 222251 w 892175"/>
                  <a:gd name="connsiteY8" fmla="*/ 198438 h 1109663"/>
                  <a:gd name="connsiteX9" fmla="*/ 206376 w 892175"/>
                  <a:gd name="connsiteY9" fmla="*/ 198438 h 1109663"/>
                  <a:gd name="connsiteX10" fmla="*/ 238125 w 892175"/>
                  <a:gd name="connsiteY10" fmla="*/ 31750 h 1109663"/>
                  <a:gd name="connsiteX11" fmla="*/ 238125 w 892175"/>
                  <a:gd name="connsiteY11" fmla="*/ 166670 h 1109663"/>
                  <a:gd name="connsiteX12" fmla="*/ 670100 w 892175"/>
                  <a:gd name="connsiteY12" fmla="*/ 166670 h 1109663"/>
                  <a:gd name="connsiteX13" fmla="*/ 685782 w 892175"/>
                  <a:gd name="connsiteY13" fmla="*/ 182375 h 1109663"/>
                  <a:gd name="connsiteX14" fmla="*/ 685782 w 892175"/>
                  <a:gd name="connsiteY14" fmla="*/ 911225 h 1109663"/>
                  <a:gd name="connsiteX15" fmla="*/ 860425 w 892175"/>
                  <a:gd name="connsiteY15" fmla="*/ 911225 h 1109663"/>
                  <a:gd name="connsiteX16" fmla="*/ 860425 w 892175"/>
                  <a:gd name="connsiteY16" fmla="*/ 31750 h 1109663"/>
                  <a:gd name="connsiteX17" fmla="*/ 238125 w 892175"/>
                  <a:gd name="connsiteY17" fmla="*/ 31750 h 1109663"/>
                  <a:gd name="connsiteX18" fmla="*/ 221973 w 892175"/>
                  <a:gd name="connsiteY18" fmla="*/ 0 h 1109663"/>
                  <a:gd name="connsiteX19" fmla="*/ 876473 w 892175"/>
                  <a:gd name="connsiteY19" fmla="*/ 0 h 1109663"/>
                  <a:gd name="connsiteX20" fmla="*/ 892175 w 892175"/>
                  <a:gd name="connsiteY20" fmla="*/ 15720 h 1109663"/>
                  <a:gd name="connsiteX21" fmla="*/ 892175 w 892175"/>
                  <a:gd name="connsiteY21" fmla="*/ 927458 h 1109663"/>
                  <a:gd name="connsiteX22" fmla="*/ 876473 w 892175"/>
                  <a:gd name="connsiteY22" fmla="*/ 943178 h 1109663"/>
                  <a:gd name="connsiteX23" fmla="*/ 685904 w 892175"/>
                  <a:gd name="connsiteY23" fmla="*/ 943178 h 1109663"/>
                  <a:gd name="connsiteX24" fmla="*/ 685904 w 892175"/>
                  <a:gd name="connsiteY24" fmla="*/ 1093944 h 1109663"/>
                  <a:gd name="connsiteX25" fmla="*/ 670202 w 892175"/>
                  <a:gd name="connsiteY25" fmla="*/ 1109663 h 1109663"/>
                  <a:gd name="connsiteX26" fmla="*/ 15703 w 892175"/>
                  <a:gd name="connsiteY26" fmla="*/ 1109663 h 1109663"/>
                  <a:gd name="connsiteX27" fmla="*/ 0 w 892175"/>
                  <a:gd name="connsiteY27" fmla="*/ 1093944 h 1109663"/>
                  <a:gd name="connsiteX28" fmla="*/ 0 w 892175"/>
                  <a:gd name="connsiteY28" fmla="*/ 182205 h 1109663"/>
                  <a:gd name="connsiteX29" fmla="*/ 15703 w 892175"/>
                  <a:gd name="connsiteY29" fmla="*/ 166485 h 1109663"/>
                  <a:gd name="connsiteX30" fmla="*/ 206271 w 892175"/>
                  <a:gd name="connsiteY30" fmla="*/ 166485 h 1109663"/>
                  <a:gd name="connsiteX31" fmla="*/ 206271 w 892175"/>
                  <a:gd name="connsiteY31" fmla="*/ 15720 h 1109663"/>
                  <a:gd name="connsiteX32" fmla="*/ 221973 w 892175"/>
                  <a:gd name="connsiteY32" fmla="*/ 0 h 110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92175" h="1109663">
                    <a:moveTo>
                      <a:pt x="30163" y="198438"/>
                    </a:moveTo>
                    <a:lnTo>
                      <a:pt x="30163" y="1077913"/>
                    </a:lnTo>
                    <a:lnTo>
                      <a:pt x="654051" y="1077913"/>
                    </a:lnTo>
                    <a:lnTo>
                      <a:pt x="654051" y="942976"/>
                    </a:lnTo>
                    <a:lnTo>
                      <a:pt x="654051" y="927101"/>
                    </a:lnTo>
                    <a:lnTo>
                      <a:pt x="654051" y="911226"/>
                    </a:lnTo>
                    <a:lnTo>
                      <a:pt x="654051" y="198438"/>
                    </a:lnTo>
                    <a:lnTo>
                      <a:pt x="238126" y="198438"/>
                    </a:lnTo>
                    <a:lnTo>
                      <a:pt x="222251" y="198438"/>
                    </a:lnTo>
                    <a:lnTo>
                      <a:pt x="206376" y="198438"/>
                    </a:lnTo>
                    <a:close/>
                    <a:moveTo>
                      <a:pt x="238125" y="31750"/>
                    </a:moveTo>
                    <a:lnTo>
                      <a:pt x="238125" y="166670"/>
                    </a:lnTo>
                    <a:cubicBezTo>
                      <a:pt x="238125" y="166670"/>
                      <a:pt x="238125" y="166670"/>
                      <a:pt x="670100" y="166670"/>
                    </a:cubicBezTo>
                    <a:cubicBezTo>
                      <a:pt x="678654" y="166670"/>
                      <a:pt x="685782" y="173808"/>
                      <a:pt x="685782" y="182375"/>
                    </a:cubicBezTo>
                    <a:cubicBezTo>
                      <a:pt x="685782" y="182375"/>
                      <a:pt x="685782" y="182375"/>
                      <a:pt x="685782" y="911225"/>
                    </a:cubicBezTo>
                    <a:cubicBezTo>
                      <a:pt x="685782" y="911225"/>
                      <a:pt x="685782" y="911225"/>
                      <a:pt x="860425" y="911225"/>
                    </a:cubicBezTo>
                    <a:cubicBezTo>
                      <a:pt x="860425" y="911225"/>
                      <a:pt x="860425" y="911225"/>
                      <a:pt x="860425" y="31750"/>
                    </a:cubicBezTo>
                    <a:cubicBezTo>
                      <a:pt x="860425" y="31750"/>
                      <a:pt x="860425" y="31750"/>
                      <a:pt x="238125" y="31750"/>
                    </a:cubicBezTo>
                    <a:close/>
                    <a:moveTo>
                      <a:pt x="221973" y="0"/>
                    </a:moveTo>
                    <a:cubicBezTo>
                      <a:pt x="221973" y="0"/>
                      <a:pt x="221973" y="0"/>
                      <a:pt x="876473" y="0"/>
                    </a:cubicBezTo>
                    <a:cubicBezTo>
                      <a:pt x="885752" y="0"/>
                      <a:pt x="892175" y="7145"/>
                      <a:pt x="892175" y="15720"/>
                    </a:cubicBezTo>
                    <a:cubicBezTo>
                      <a:pt x="892175" y="15720"/>
                      <a:pt x="892175" y="15720"/>
                      <a:pt x="892175" y="927458"/>
                    </a:cubicBezTo>
                    <a:cubicBezTo>
                      <a:pt x="892175" y="936033"/>
                      <a:pt x="885752" y="943178"/>
                      <a:pt x="876473" y="943178"/>
                    </a:cubicBezTo>
                    <a:cubicBezTo>
                      <a:pt x="876473" y="943178"/>
                      <a:pt x="876473" y="943178"/>
                      <a:pt x="685904" y="943178"/>
                    </a:cubicBezTo>
                    <a:cubicBezTo>
                      <a:pt x="685904" y="943178"/>
                      <a:pt x="685904" y="943178"/>
                      <a:pt x="685904" y="1093944"/>
                    </a:cubicBezTo>
                    <a:cubicBezTo>
                      <a:pt x="685904" y="1102518"/>
                      <a:pt x="678767" y="1109663"/>
                      <a:pt x="670202" y="1109663"/>
                    </a:cubicBezTo>
                    <a:cubicBezTo>
                      <a:pt x="670202" y="1109663"/>
                      <a:pt x="670202" y="1109663"/>
                      <a:pt x="15703" y="1109663"/>
                    </a:cubicBezTo>
                    <a:cubicBezTo>
                      <a:pt x="6424" y="1109663"/>
                      <a:pt x="0" y="1102518"/>
                      <a:pt x="0" y="1093944"/>
                    </a:cubicBezTo>
                    <a:cubicBezTo>
                      <a:pt x="0" y="1093944"/>
                      <a:pt x="0" y="1093944"/>
                      <a:pt x="0" y="182205"/>
                    </a:cubicBezTo>
                    <a:cubicBezTo>
                      <a:pt x="0" y="173631"/>
                      <a:pt x="6424" y="166485"/>
                      <a:pt x="15703" y="166485"/>
                    </a:cubicBezTo>
                    <a:cubicBezTo>
                      <a:pt x="15703" y="166485"/>
                      <a:pt x="15703" y="166485"/>
                      <a:pt x="206271" y="166485"/>
                    </a:cubicBezTo>
                    <a:cubicBezTo>
                      <a:pt x="206271" y="166485"/>
                      <a:pt x="206271" y="166485"/>
                      <a:pt x="206271" y="15720"/>
                    </a:cubicBezTo>
                    <a:cubicBezTo>
                      <a:pt x="206271" y="7145"/>
                      <a:pt x="213409" y="0"/>
                      <a:pt x="2219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21">
                <a:extLst>
                  <a:ext uri="{FF2B5EF4-FFF2-40B4-BE49-F238E27FC236}">
                    <a16:creationId xmlns:a16="http://schemas.microsoft.com/office/drawing/2014/main" id="{0EDB427D-0610-496C-BFD4-17FDD3480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88" y="3287713"/>
                <a:ext cx="454025" cy="646113"/>
              </a:xfrm>
              <a:custGeom>
                <a:avLst/>
                <a:gdLst>
                  <a:gd name="connsiteX0" fmla="*/ 15681 w 454025"/>
                  <a:gd name="connsiteY0" fmla="*/ 615950 h 646113"/>
                  <a:gd name="connsiteX1" fmla="*/ 91233 w 454025"/>
                  <a:gd name="connsiteY1" fmla="*/ 615950 h 646113"/>
                  <a:gd name="connsiteX2" fmla="*/ 439057 w 454025"/>
                  <a:gd name="connsiteY2" fmla="*/ 615950 h 646113"/>
                  <a:gd name="connsiteX3" fmla="*/ 453312 w 454025"/>
                  <a:gd name="connsiteY3" fmla="*/ 626472 h 646113"/>
                  <a:gd name="connsiteX4" fmla="*/ 454025 w 454025"/>
                  <a:gd name="connsiteY4" fmla="*/ 631382 h 646113"/>
                  <a:gd name="connsiteX5" fmla="*/ 454025 w 454025"/>
                  <a:gd name="connsiteY5" fmla="*/ 632785 h 646113"/>
                  <a:gd name="connsiteX6" fmla="*/ 444047 w 454025"/>
                  <a:gd name="connsiteY6" fmla="*/ 645412 h 646113"/>
                  <a:gd name="connsiteX7" fmla="*/ 442621 w 454025"/>
                  <a:gd name="connsiteY7" fmla="*/ 646113 h 646113"/>
                  <a:gd name="connsiteX8" fmla="*/ 441908 w 454025"/>
                  <a:gd name="connsiteY8" fmla="*/ 646113 h 646113"/>
                  <a:gd name="connsiteX9" fmla="*/ 439057 w 454025"/>
                  <a:gd name="connsiteY9" fmla="*/ 646113 h 646113"/>
                  <a:gd name="connsiteX10" fmla="*/ 15681 w 454025"/>
                  <a:gd name="connsiteY10" fmla="*/ 646113 h 646113"/>
                  <a:gd name="connsiteX11" fmla="*/ 14968 w 454025"/>
                  <a:gd name="connsiteY11" fmla="*/ 646113 h 646113"/>
                  <a:gd name="connsiteX12" fmla="*/ 0 w 454025"/>
                  <a:gd name="connsiteY12" fmla="*/ 631382 h 646113"/>
                  <a:gd name="connsiteX13" fmla="*/ 15681 w 454025"/>
                  <a:gd name="connsiteY13" fmla="*/ 615950 h 646113"/>
                  <a:gd name="connsiteX14" fmla="*/ 15681 w 454025"/>
                  <a:gd name="connsiteY14" fmla="*/ 512762 h 646113"/>
                  <a:gd name="connsiteX15" fmla="*/ 90520 w 454025"/>
                  <a:gd name="connsiteY15" fmla="*/ 512762 h 646113"/>
                  <a:gd name="connsiteX16" fmla="*/ 106201 w 454025"/>
                  <a:gd name="connsiteY16" fmla="*/ 512762 h 646113"/>
                  <a:gd name="connsiteX17" fmla="*/ 121881 w 454025"/>
                  <a:gd name="connsiteY17" fmla="*/ 512762 h 646113"/>
                  <a:gd name="connsiteX18" fmla="*/ 439057 w 454025"/>
                  <a:gd name="connsiteY18" fmla="*/ 512762 h 646113"/>
                  <a:gd name="connsiteX19" fmla="*/ 454025 w 454025"/>
                  <a:gd name="connsiteY19" fmla="*/ 528637 h 646113"/>
                  <a:gd name="connsiteX20" fmla="*/ 454025 w 454025"/>
                  <a:gd name="connsiteY20" fmla="*/ 531523 h 646113"/>
                  <a:gd name="connsiteX21" fmla="*/ 453312 w 454025"/>
                  <a:gd name="connsiteY21" fmla="*/ 532967 h 646113"/>
                  <a:gd name="connsiteX22" fmla="*/ 453312 w 454025"/>
                  <a:gd name="connsiteY22" fmla="*/ 533688 h 646113"/>
                  <a:gd name="connsiteX23" fmla="*/ 444047 w 454025"/>
                  <a:gd name="connsiteY23" fmla="*/ 543791 h 646113"/>
                  <a:gd name="connsiteX24" fmla="*/ 443334 w 454025"/>
                  <a:gd name="connsiteY24" fmla="*/ 543791 h 646113"/>
                  <a:gd name="connsiteX25" fmla="*/ 441908 w 454025"/>
                  <a:gd name="connsiteY25" fmla="*/ 544512 h 646113"/>
                  <a:gd name="connsiteX26" fmla="*/ 439057 w 454025"/>
                  <a:gd name="connsiteY26" fmla="*/ 544512 h 646113"/>
                  <a:gd name="connsiteX27" fmla="*/ 121881 w 454025"/>
                  <a:gd name="connsiteY27" fmla="*/ 544512 h 646113"/>
                  <a:gd name="connsiteX28" fmla="*/ 106201 w 454025"/>
                  <a:gd name="connsiteY28" fmla="*/ 544512 h 646113"/>
                  <a:gd name="connsiteX29" fmla="*/ 90520 w 454025"/>
                  <a:gd name="connsiteY29" fmla="*/ 544512 h 646113"/>
                  <a:gd name="connsiteX30" fmla="*/ 15681 w 454025"/>
                  <a:gd name="connsiteY30" fmla="*/ 544512 h 646113"/>
                  <a:gd name="connsiteX31" fmla="*/ 0 w 454025"/>
                  <a:gd name="connsiteY31" fmla="*/ 528637 h 646113"/>
                  <a:gd name="connsiteX32" fmla="*/ 15681 w 454025"/>
                  <a:gd name="connsiteY32" fmla="*/ 512762 h 646113"/>
                  <a:gd name="connsiteX33" fmla="*/ 15681 w 454025"/>
                  <a:gd name="connsiteY33" fmla="*/ 411162 h 646113"/>
                  <a:gd name="connsiteX34" fmla="*/ 90520 w 454025"/>
                  <a:gd name="connsiteY34" fmla="*/ 411162 h 646113"/>
                  <a:gd name="connsiteX35" fmla="*/ 106201 w 454025"/>
                  <a:gd name="connsiteY35" fmla="*/ 411162 h 646113"/>
                  <a:gd name="connsiteX36" fmla="*/ 121881 w 454025"/>
                  <a:gd name="connsiteY36" fmla="*/ 411162 h 646113"/>
                  <a:gd name="connsiteX37" fmla="*/ 439057 w 454025"/>
                  <a:gd name="connsiteY37" fmla="*/ 411162 h 646113"/>
                  <a:gd name="connsiteX38" fmla="*/ 454025 w 454025"/>
                  <a:gd name="connsiteY38" fmla="*/ 426594 h 646113"/>
                  <a:gd name="connsiteX39" fmla="*/ 439057 w 454025"/>
                  <a:gd name="connsiteY39" fmla="*/ 441325 h 646113"/>
                  <a:gd name="connsiteX40" fmla="*/ 121881 w 454025"/>
                  <a:gd name="connsiteY40" fmla="*/ 441325 h 646113"/>
                  <a:gd name="connsiteX41" fmla="*/ 106201 w 454025"/>
                  <a:gd name="connsiteY41" fmla="*/ 441325 h 646113"/>
                  <a:gd name="connsiteX42" fmla="*/ 90520 w 454025"/>
                  <a:gd name="connsiteY42" fmla="*/ 441325 h 646113"/>
                  <a:gd name="connsiteX43" fmla="*/ 15681 w 454025"/>
                  <a:gd name="connsiteY43" fmla="*/ 441325 h 646113"/>
                  <a:gd name="connsiteX44" fmla="*/ 0 w 454025"/>
                  <a:gd name="connsiteY44" fmla="*/ 426594 h 646113"/>
                  <a:gd name="connsiteX45" fmla="*/ 15681 w 454025"/>
                  <a:gd name="connsiteY45" fmla="*/ 411162 h 646113"/>
                  <a:gd name="connsiteX46" fmla="*/ 15681 w 454025"/>
                  <a:gd name="connsiteY46" fmla="*/ 307975 h 646113"/>
                  <a:gd name="connsiteX47" fmla="*/ 90520 w 454025"/>
                  <a:gd name="connsiteY47" fmla="*/ 307975 h 646113"/>
                  <a:gd name="connsiteX48" fmla="*/ 106201 w 454025"/>
                  <a:gd name="connsiteY48" fmla="*/ 307975 h 646113"/>
                  <a:gd name="connsiteX49" fmla="*/ 121881 w 454025"/>
                  <a:gd name="connsiteY49" fmla="*/ 307975 h 646113"/>
                  <a:gd name="connsiteX50" fmla="*/ 439057 w 454025"/>
                  <a:gd name="connsiteY50" fmla="*/ 307975 h 646113"/>
                  <a:gd name="connsiteX51" fmla="*/ 454025 w 454025"/>
                  <a:gd name="connsiteY51" fmla="*/ 323057 h 646113"/>
                  <a:gd name="connsiteX52" fmla="*/ 439057 w 454025"/>
                  <a:gd name="connsiteY52" fmla="*/ 338138 h 646113"/>
                  <a:gd name="connsiteX53" fmla="*/ 121881 w 454025"/>
                  <a:gd name="connsiteY53" fmla="*/ 338138 h 646113"/>
                  <a:gd name="connsiteX54" fmla="*/ 106201 w 454025"/>
                  <a:gd name="connsiteY54" fmla="*/ 338138 h 646113"/>
                  <a:gd name="connsiteX55" fmla="*/ 90520 w 454025"/>
                  <a:gd name="connsiteY55" fmla="*/ 338138 h 646113"/>
                  <a:gd name="connsiteX56" fmla="*/ 15681 w 454025"/>
                  <a:gd name="connsiteY56" fmla="*/ 338138 h 646113"/>
                  <a:gd name="connsiteX57" fmla="*/ 0 w 454025"/>
                  <a:gd name="connsiteY57" fmla="*/ 323057 h 646113"/>
                  <a:gd name="connsiteX58" fmla="*/ 15681 w 454025"/>
                  <a:gd name="connsiteY58" fmla="*/ 307975 h 646113"/>
                  <a:gd name="connsiteX59" fmla="*/ 15681 w 454025"/>
                  <a:gd name="connsiteY59" fmla="*/ 204787 h 646113"/>
                  <a:gd name="connsiteX60" fmla="*/ 90520 w 454025"/>
                  <a:gd name="connsiteY60" fmla="*/ 204787 h 646113"/>
                  <a:gd name="connsiteX61" fmla="*/ 106201 w 454025"/>
                  <a:gd name="connsiteY61" fmla="*/ 204787 h 646113"/>
                  <a:gd name="connsiteX62" fmla="*/ 121881 w 454025"/>
                  <a:gd name="connsiteY62" fmla="*/ 204787 h 646113"/>
                  <a:gd name="connsiteX63" fmla="*/ 439057 w 454025"/>
                  <a:gd name="connsiteY63" fmla="*/ 204787 h 646113"/>
                  <a:gd name="connsiteX64" fmla="*/ 454025 w 454025"/>
                  <a:gd name="connsiteY64" fmla="*/ 220219 h 646113"/>
                  <a:gd name="connsiteX65" fmla="*/ 439057 w 454025"/>
                  <a:gd name="connsiteY65" fmla="*/ 234950 h 646113"/>
                  <a:gd name="connsiteX66" fmla="*/ 121881 w 454025"/>
                  <a:gd name="connsiteY66" fmla="*/ 234950 h 646113"/>
                  <a:gd name="connsiteX67" fmla="*/ 106201 w 454025"/>
                  <a:gd name="connsiteY67" fmla="*/ 234950 h 646113"/>
                  <a:gd name="connsiteX68" fmla="*/ 90520 w 454025"/>
                  <a:gd name="connsiteY68" fmla="*/ 234950 h 646113"/>
                  <a:gd name="connsiteX69" fmla="*/ 15681 w 454025"/>
                  <a:gd name="connsiteY69" fmla="*/ 234950 h 646113"/>
                  <a:gd name="connsiteX70" fmla="*/ 0 w 454025"/>
                  <a:gd name="connsiteY70" fmla="*/ 220219 h 646113"/>
                  <a:gd name="connsiteX71" fmla="*/ 15681 w 454025"/>
                  <a:gd name="connsiteY71" fmla="*/ 204787 h 646113"/>
                  <a:gd name="connsiteX72" fmla="*/ 15681 w 454025"/>
                  <a:gd name="connsiteY72" fmla="*/ 101600 h 646113"/>
                  <a:gd name="connsiteX73" fmla="*/ 90520 w 454025"/>
                  <a:gd name="connsiteY73" fmla="*/ 101600 h 646113"/>
                  <a:gd name="connsiteX74" fmla="*/ 106201 w 454025"/>
                  <a:gd name="connsiteY74" fmla="*/ 101600 h 646113"/>
                  <a:gd name="connsiteX75" fmla="*/ 121881 w 454025"/>
                  <a:gd name="connsiteY75" fmla="*/ 101600 h 646113"/>
                  <a:gd name="connsiteX76" fmla="*/ 439057 w 454025"/>
                  <a:gd name="connsiteY76" fmla="*/ 101600 h 646113"/>
                  <a:gd name="connsiteX77" fmla="*/ 454025 w 454025"/>
                  <a:gd name="connsiteY77" fmla="*/ 117475 h 646113"/>
                  <a:gd name="connsiteX78" fmla="*/ 439057 w 454025"/>
                  <a:gd name="connsiteY78" fmla="*/ 133350 h 646113"/>
                  <a:gd name="connsiteX79" fmla="*/ 121881 w 454025"/>
                  <a:gd name="connsiteY79" fmla="*/ 133350 h 646113"/>
                  <a:gd name="connsiteX80" fmla="*/ 106201 w 454025"/>
                  <a:gd name="connsiteY80" fmla="*/ 133350 h 646113"/>
                  <a:gd name="connsiteX81" fmla="*/ 90520 w 454025"/>
                  <a:gd name="connsiteY81" fmla="*/ 133350 h 646113"/>
                  <a:gd name="connsiteX82" fmla="*/ 15681 w 454025"/>
                  <a:gd name="connsiteY82" fmla="*/ 133350 h 646113"/>
                  <a:gd name="connsiteX83" fmla="*/ 0 w 454025"/>
                  <a:gd name="connsiteY83" fmla="*/ 117475 h 646113"/>
                  <a:gd name="connsiteX84" fmla="*/ 15681 w 454025"/>
                  <a:gd name="connsiteY84" fmla="*/ 101600 h 646113"/>
                  <a:gd name="connsiteX85" fmla="*/ 15681 w 454025"/>
                  <a:gd name="connsiteY85" fmla="*/ 0 h 646113"/>
                  <a:gd name="connsiteX86" fmla="*/ 90520 w 454025"/>
                  <a:gd name="connsiteY86" fmla="*/ 0 h 646113"/>
                  <a:gd name="connsiteX87" fmla="*/ 106201 w 454025"/>
                  <a:gd name="connsiteY87" fmla="*/ 0 h 646113"/>
                  <a:gd name="connsiteX88" fmla="*/ 121881 w 454025"/>
                  <a:gd name="connsiteY88" fmla="*/ 0 h 646113"/>
                  <a:gd name="connsiteX89" fmla="*/ 439057 w 454025"/>
                  <a:gd name="connsiteY89" fmla="*/ 0 h 646113"/>
                  <a:gd name="connsiteX90" fmla="*/ 454025 w 454025"/>
                  <a:gd name="connsiteY90" fmla="*/ 15432 h 646113"/>
                  <a:gd name="connsiteX91" fmla="*/ 439057 w 454025"/>
                  <a:gd name="connsiteY91" fmla="*/ 30163 h 646113"/>
                  <a:gd name="connsiteX92" fmla="*/ 121881 w 454025"/>
                  <a:gd name="connsiteY92" fmla="*/ 30163 h 646113"/>
                  <a:gd name="connsiteX93" fmla="*/ 106201 w 454025"/>
                  <a:gd name="connsiteY93" fmla="*/ 30163 h 646113"/>
                  <a:gd name="connsiteX94" fmla="*/ 90520 w 454025"/>
                  <a:gd name="connsiteY94" fmla="*/ 30163 h 646113"/>
                  <a:gd name="connsiteX95" fmla="*/ 15681 w 454025"/>
                  <a:gd name="connsiteY95" fmla="*/ 30163 h 646113"/>
                  <a:gd name="connsiteX96" fmla="*/ 0 w 454025"/>
                  <a:gd name="connsiteY96" fmla="*/ 15432 h 646113"/>
                  <a:gd name="connsiteX97" fmla="*/ 15681 w 454025"/>
                  <a:gd name="connsiteY97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454025" h="646113">
                    <a:moveTo>
                      <a:pt x="15681" y="615950"/>
                    </a:moveTo>
                    <a:cubicBezTo>
                      <a:pt x="42766" y="615950"/>
                      <a:pt x="67712" y="615950"/>
                      <a:pt x="91233" y="615950"/>
                    </a:cubicBezTo>
                    <a:cubicBezTo>
                      <a:pt x="439057" y="615950"/>
                      <a:pt x="439057" y="615950"/>
                      <a:pt x="439057" y="615950"/>
                    </a:cubicBezTo>
                    <a:cubicBezTo>
                      <a:pt x="446185" y="615950"/>
                      <a:pt x="451887" y="620159"/>
                      <a:pt x="453312" y="626472"/>
                    </a:cubicBezTo>
                    <a:cubicBezTo>
                      <a:pt x="454025" y="627875"/>
                      <a:pt x="454025" y="629278"/>
                      <a:pt x="454025" y="631382"/>
                    </a:cubicBezTo>
                    <a:cubicBezTo>
                      <a:pt x="454025" y="632084"/>
                      <a:pt x="454025" y="632084"/>
                      <a:pt x="454025" y="632785"/>
                    </a:cubicBezTo>
                    <a:cubicBezTo>
                      <a:pt x="453312" y="638397"/>
                      <a:pt x="449749" y="643307"/>
                      <a:pt x="444047" y="645412"/>
                    </a:cubicBezTo>
                    <a:cubicBezTo>
                      <a:pt x="444047" y="645412"/>
                      <a:pt x="443334" y="646113"/>
                      <a:pt x="442621" y="646113"/>
                    </a:cubicBezTo>
                    <a:cubicBezTo>
                      <a:pt x="442621" y="646113"/>
                      <a:pt x="441908" y="646113"/>
                      <a:pt x="441908" y="646113"/>
                    </a:cubicBezTo>
                    <a:cubicBezTo>
                      <a:pt x="441196" y="646113"/>
                      <a:pt x="439770" y="646113"/>
                      <a:pt x="439057" y="646113"/>
                    </a:cubicBezTo>
                    <a:cubicBezTo>
                      <a:pt x="15681" y="646113"/>
                      <a:pt x="15681" y="646113"/>
                      <a:pt x="15681" y="646113"/>
                    </a:cubicBezTo>
                    <a:cubicBezTo>
                      <a:pt x="15681" y="646113"/>
                      <a:pt x="14968" y="646113"/>
                      <a:pt x="14968" y="646113"/>
                    </a:cubicBezTo>
                    <a:cubicBezTo>
                      <a:pt x="7128" y="646113"/>
                      <a:pt x="713" y="639800"/>
                      <a:pt x="0" y="631382"/>
                    </a:cubicBezTo>
                    <a:cubicBezTo>
                      <a:pt x="0" y="622965"/>
                      <a:pt x="7128" y="615950"/>
                      <a:pt x="15681" y="615950"/>
                    </a:cubicBezTo>
                    <a:close/>
                    <a:moveTo>
                      <a:pt x="15681" y="512762"/>
                    </a:moveTo>
                    <a:cubicBezTo>
                      <a:pt x="42053" y="512762"/>
                      <a:pt x="67712" y="512762"/>
                      <a:pt x="90520" y="512762"/>
                    </a:cubicBezTo>
                    <a:cubicBezTo>
                      <a:pt x="96222" y="512762"/>
                      <a:pt x="101211" y="512762"/>
                      <a:pt x="106201" y="512762"/>
                    </a:cubicBezTo>
                    <a:cubicBezTo>
                      <a:pt x="111903" y="512762"/>
                      <a:pt x="116892" y="512762"/>
                      <a:pt x="121881" y="512762"/>
                    </a:cubicBezTo>
                    <a:cubicBezTo>
                      <a:pt x="439057" y="512762"/>
                      <a:pt x="439057" y="512762"/>
                      <a:pt x="439057" y="512762"/>
                    </a:cubicBezTo>
                    <a:cubicBezTo>
                      <a:pt x="447610" y="512762"/>
                      <a:pt x="454025" y="519978"/>
                      <a:pt x="454025" y="528637"/>
                    </a:cubicBezTo>
                    <a:cubicBezTo>
                      <a:pt x="454025" y="530080"/>
                      <a:pt x="454025" y="530802"/>
                      <a:pt x="454025" y="531523"/>
                    </a:cubicBezTo>
                    <a:cubicBezTo>
                      <a:pt x="454025" y="532245"/>
                      <a:pt x="454025" y="532967"/>
                      <a:pt x="453312" y="532967"/>
                    </a:cubicBezTo>
                    <a:cubicBezTo>
                      <a:pt x="453312" y="533688"/>
                      <a:pt x="453312" y="533688"/>
                      <a:pt x="453312" y="533688"/>
                    </a:cubicBezTo>
                    <a:cubicBezTo>
                      <a:pt x="451887" y="538739"/>
                      <a:pt x="449036" y="542347"/>
                      <a:pt x="444047" y="543791"/>
                    </a:cubicBezTo>
                    <a:cubicBezTo>
                      <a:pt x="443334" y="543791"/>
                      <a:pt x="443334" y="543791"/>
                      <a:pt x="443334" y="543791"/>
                    </a:cubicBezTo>
                    <a:cubicBezTo>
                      <a:pt x="442621" y="543791"/>
                      <a:pt x="441908" y="543791"/>
                      <a:pt x="441908" y="544512"/>
                    </a:cubicBezTo>
                    <a:cubicBezTo>
                      <a:pt x="440483" y="544512"/>
                      <a:pt x="439770" y="544512"/>
                      <a:pt x="439057" y="544512"/>
                    </a:cubicBezTo>
                    <a:cubicBezTo>
                      <a:pt x="282964" y="544512"/>
                      <a:pt x="184604" y="544512"/>
                      <a:pt x="121881" y="544512"/>
                    </a:cubicBezTo>
                    <a:cubicBezTo>
                      <a:pt x="116892" y="544512"/>
                      <a:pt x="111190" y="544512"/>
                      <a:pt x="106201" y="544512"/>
                    </a:cubicBezTo>
                    <a:cubicBezTo>
                      <a:pt x="101211" y="544512"/>
                      <a:pt x="95509" y="544512"/>
                      <a:pt x="90520" y="544512"/>
                    </a:cubicBezTo>
                    <a:cubicBezTo>
                      <a:pt x="15681" y="544512"/>
                      <a:pt x="15681" y="544512"/>
                      <a:pt x="15681" y="544512"/>
                    </a:cubicBezTo>
                    <a:cubicBezTo>
                      <a:pt x="7128" y="544512"/>
                      <a:pt x="0" y="538018"/>
                      <a:pt x="0" y="528637"/>
                    </a:cubicBezTo>
                    <a:cubicBezTo>
                      <a:pt x="0" y="519978"/>
                      <a:pt x="7128" y="512762"/>
                      <a:pt x="15681" y="512762"/>
                    </a:cubicBezTo>
                    <a:close/>
                    <a:moveTo>
                      <a:pt x="15681" y="411162"/>
                    </a:moveTo>
                    <a:cubicBezTo>
                      <a:pt x="42053" y="411162"/>
                      <a:pt x="67712" y="411162"/>
                      <a:pt x="90520" y="411162"/>
                    </a:cubicBezTo>
                    <a:cubicBezTo>
                      <a:pt x="96222" y="411162"/>
                      <a:pt x="101211" y="411162"/>
                      <a:pt x="106201" y="411162"/>
                    </a:cubicBezTo>
                    <a:cubicBezTo>
                      <a:pt x="111903" y="411162"/>
                      <a:pt x="116892" y="411162"/>
                      <a:pt x="121881" y="411162"/>
                    </a:cubicBezTo>
                    <a:cubicBezTo>
                      <a:pt x="439057" y="411162"/>
                      <a:pt x="439057" y="411162"/>
                      <a:pt x="439057" y="411162"/>
                    </a:cubicBezTo>
                    <a:cubicBezTo>
                      <a:pt x="447610" y="411162"/>
                      <a:pt x="454025" y="418177"/>
                      <a:pt x="454025" y="426594"/>
                    </a:cubicBezTo>
                    <a:cubicBezTo>
                      <a:pt x="454025" y="435012"/>
                      <a:pt x="447610" y="441325"/>
                      <a:pt x="439057" y="441325"/>
                    </a:cubicBezTo>
                    <a:cubicBezTo>
                      <a:pt x="282964" y="441325"/>
                      <a:pt x="184604" y="441325"/>
                      <a:pt x="121881" y="441325"/>
                    </a:cubicBezTo>
                    <a:cubicBezTo>
                      <a:pt x="116892" y="441325"/>
                      <a:pt x="111190" y="441325"/>
                      <a:pt x="106201" y="441325"/>
                    </a:cubicBezTo>
                    <a:cubicBezTo>
                      <a:pt x="101211" y="441325"/>
                      <a:pt x="95509" y="441325"/>
                      <a:pt x="90520" y="441325"/>
                    </a:cubicBezTo>
                    <a:cubicBezTo>
                      <a:pt x="15681" y="441325"/>
                      <a:pt x="15681" y="441325"/>
                      <a:pt x="15681" y="441325"/>
                    </a:cubicBezTo>
                    <a:cubicBezTo>
                      <a:pt x="7128" y="441325"/>
                      <a:pt x="0" y="435012"/>
                      <a:pt x="0" y="426594"/>
                    </a:cubicBezTo>
                    <a:cubicBezTo>
                      <a:pt x="0" y="418177"/>
                      <a:pt x="7128" y="411162"/>
                      <a:pt x="15681" y="411162"/>
                    </a:cubicBezTo>
                    <a:close/>
                    <a:moveTo>
                      <a:pt x="15681" y="307975"/>
                    </a:moveTo>
                    <a:cubicBezTo>
                      <a:pt x="42053" y="307975"/>
                      <a:pt x="67712" y="307975"/>
                      <a:pt x="90520" y="307975"/>
                    </a:cubicBezTo>
                    <a:cubicBezTo>
                      <a:pt x="96222" y="307975"/>
                      <a:pt x="101211" y="307975"/>
                      <a:pt x="106201" y="307975"/>
                    </a:cubicBezTo>
                    <a:cubicBezTo>
                      <a:pt x="111903" y="307975"/>
                      <a:pt x="116892" y="307975"/>
                      <a:pt x="121881" y="307975"/>
                    </a:cubicBezTo>
                    <a:cubicBezTo>
                      <a:pt x="439057" y="307975"/>
                      <a:pt x="439057" y="307975"/>
                      <a:pt x="439057" y="307975"/>
                    </a:cubicBezTo>
                    <a:cubicBezTo>
                      <a:pt x="447610" y="307975"/>
                      <a:pt x="454025" y="315157"/>
                      <a:pt x="454025" y="323057"/>
                    </a:cubicBezTo>
                    <a:cubicBezTo>
                      <a:pt x="454025" y="330956"/>
                      <a:pt x="447610" y="338138"/>
                      <a:pt x="439057" y="338138"/>
                    </a:cubicBezTo>
                    <a:cubicBezTo>
                      <a:pt x="282964" y="338138"/>
                      <a:pt x="184604" y="338138"/>
                      <a:pt x="121881" y="338138"/>
                    </a:cubicBezTo>
                    <a:cubicBezTo>
                      <a:pt x="116892" y="338138"/>
                      <a:pt x="111190" y="338138"/>
                      <a:pt x="106201" y="338138"/>
                    </a:cubicBezTo>
                    <a:cubicBezTo>
                      <a:pt x="101211" y="338138"/>
                      <a:pt x="95509" y="338138"/>
                      <a:pt x="90520" y="338138"/>
                    </a:cubicBezTo>
                    <a:cubicBezTo>
                      <a:pt x="15681" y="338138"/>
                      <a:pt x="15681" y="338138"/>
                      <a:pt x="15681" y="338138"/>
                    </a:cubicBezTo>
                    <a:cubicBezTo>
                      <a:pt x="7128" y="338138"/>
                      <a:pt x="0" y="330956"/>
                      <a:pt x="0" y="323057"/>
                    </a:cubicBezTo>
                    <a:cubicBezTo>
                      <a:pt x="0" y="315157"/>
                      <a:pt x="7128" y="307975"/>
                      <a:pt x="15681" y="307975"/>
                    </a:cubicBezTo>
                    <a:close/>
                    <a:moveTo>
                      <a:pt x="15681" y="204787"/>
                    </a:moveTo>
                    <a:cubicBezTo>
                      <a:pt x="42053" y="204787"/>
                      <a:pt x="67712" y="204787"/>
                      <a:pt x="90520" y="204787"/>
                    </a:cubicBezTo>
                    <a:cubicBezTo>
                      <a:pt x="96222" y="204787"/>
                      <a:pt x="101211" y="204787"/>
                      <a:pt x="106201" y="204787"/>
                    </a:cubicBezTo>
                    <a:cubicBezTo>
                      <a:pt x="111903" y="204787"/>
                      <a:pt x="116892" y="204787"/>
                      <a:pt x="121881" y="204787"/>
                    </a:cubicBezTo>
                    <a:cubicBezTo>
                      <a:pt x="439057" y="204787"/>
                      <a:pt x="439057" y="204787"/>
                      <a:pt x="439057" y="204787"/>
                    </a:cubicBezTo>
                    <a:cubicBezTo>
                      <a:pt x="447610" y="204787"/>
                      <a:pt x="454025" y="211802"/>
                      <a:pt x="454025" y="220219"/>
                    </a:cubicBezTo>
                    <a:cubicBezTo>
                      <a:pt x="454025" y="227935"/>
                      <a:pt x="447610" y="234950"/>
                      <a:pt x="439057" y="234950"/>
                    </a:cubicBezTo>
                    <a:cubicBezTo>
                      <a:pt x="282964" y="234950"/>
                      <a:pt x="184604" y="234950"/>
                      <a:pt x="121881" y="234950"/>
                    </a:cubicBezTo>
                    <a:cubicBezTo>
                      <a:pt x="116892" y="234950"/>
                      <a:pt x="111190" y="234950"/>
                      <a:pt x="106201" y="234950"/>
                    </a:cubicBezTo>
                    <a:cubicBezTo>
                      <a:pt x="101211" y="234950"/>
                      <a:pt x="95509" y="234950"/>
                      <a:pt x="90520" y="234950"/>
                    </a:cubicBezTo>
                    <a:cubicBezTo>
                      <a:pt x="15681" y="234950"/>
                      <a:pt x="15681" y="234950"/>
                      <a:pt x="15681" y="234950"/>
                    </a:cubicBezTo>
                    <a:cubicBezTo>
                      <a:pt x="7128" y="234950"/>
                      <a:pt x="0" y="227935"/>
                      <a:pt x="0" y="220219"/>
                    </a:cubicBezTo>
                    <a:cubicBezTo>
                      <a:pt x="0" y="211802"/>
                      <a:pt x="7128" y="204787"/>
                      <a:pt x="15681" y="204787"/>
                    </a:cubicBezTo>
                    <a:close/>
                    <a:moveTo>
                      <a:pt x="15681" y="101600"/>
                    </a:moveTo>
                    <a:cubicBezTo>
                      <a:pt x="42053" y="101600"/>
                      <a:pt x="67712" y="101600"/>
                      <a:pt x="90520" y="101600"/>
                    </a:cubicBezTo>
                    <a:cubicBezTo>
                      <a:pt x="96222" y="101600"/>
                      <a:pt x="101211" y="101600"/>
                      <a:pt x="106201" y="101600"/>
                    </a:cubicBezTo>
                    <a:cubicBezTo>
                      <a:pt x="111903" y="101600"/>
                      <a:pt x="116892" y="101600"/>
                      <a:pt x="121881" y="101600"/>
                    </a:cubicBezTo>
                    <a:cubicBezTo>
                      <a:pt x="439057" y="101600"/>
                      <a:pt x="439057" y="101600"/>
                      <a:pt x="439057" y="101600"/>
                    </a:cubicBezTo>
                    <a:cubicBezTo>
                      <a:pt x="447610" y="101600"/>
                      <a:pt x="454025" y="108816"/>
                      <a:pt x="454025" y="117475"/>
                    </a:cubicBezTo>
                    <a:cubicBezTo>
                      <a:pt x="454025" y="126134"/>
                      <a:pt x="447610" y="133350"/>
                      <a:pt x="439057" y="133350"/>
                    </a:cubicBezTo>
                    <a:cubicBezTo>
                      <a:pt x="282964" y="133350"/>
                      <a:pt x="184604" y="133350"/>
                      <a:pt x="121881" y="133350"/>
                    </a:cubicBezTo>
                    <a:cubicBezTo>
                      <a:pt x="116892" y="133350"/>
                      <a:pt x="111190" y="133350"/>
                      <a:pt x="106201" y="133350"/>
                    </a:cubicBezTo>
                    <a:cubicBezTo>
                      <a:pt x="101211" y="133350"/>
                      <a:pt x="95509" y="133350"/>
                      <a:pt x="90520" y="133350"/>
                    </a:cubicBezTo>
                    <a:cubicBezTo>
                      <a:pt x="15681" y="133350"/>
                      <a:pt x="15681" y="133350"/>
                      <a:pt x="15681" y="133350"/>
                    </a:cubicBezTo>
                    <a:cubicBezTo>
                      <a:pt x="7128" y="133350"/>
                      <a:pt x="0" y="126134"/>
                      <a:pt x="0" y="117475"/>
                    </a:cubicBezTo>
                    <a:cubicBezTo>
                      <a:pt x="0" y="108816"/>
                      <a:pt x="7128" y="101600"/>
                      <a:pt x="15681" y="101600"/>
                    </a:cubicBezTo>
                    <a:close/>
                    <a:moveTo>
                      <a:pt x="15681" y="0"/>
                    </a:moveTo>
                    <a:cubicBezTo>
                      <a:pt x="42053" y="0"/>
                      <a:pt x="67712" y="0"/>
                      <a:pt x="90520" y="0"/>
                    </a:cubicBezTo>
                    <a:cubicBezTo>
                      <a:pt x="96222" y="0"/>
                      <a:pt x="101211" y="0"/>
                      <a:pt x="106201" y="0"/>
                    </a:cubicBezTo>
                    <a:cubicBezTo>
                      <a:pt x="111903" y="0"/>
                      <a:pt x="116892" y="0"/>
                      <a:pt x="121881" y="0"/>
                    </a:cubicBezTo>
                    <a:cubicBezTo>
                      <a:pt x="439057" y="0"/>
                      <a:pt x="439057" y="0"/>
                      <a:pt x="439057" y="0"/>
                    </a:cubicBezTo>
                    <a:cubicBezTo>
                      <a:pt x="447610" y="0"/>
                      <a:pt x="454025" y="6313"/>
                      <a:pt x="454025" y="15432"/>
                    </a:cubicBezTo>
                    <a:cubicBezTo>
                      <a:pt x="454025" y="23148"/>
                      <a:pt x="447610" y="30163"/>
                      <a:pt x="439057" y="30163"/>
                    </a:cubicBezTo>
                    <a:cubicBezTo>
                      <a:pt x="282964" y="30163"/>
                      <a:pt x="184604" y="30163"/>
                      <a:pt x="121881" y="30163"/>
                    </a:cubicBezTo>
                    <a:cubicBezTo>
                      <a:pt x="116892" y="30163"/>
                      <a:pt x="111190" y="30163"/>
                      <a:pt x="106201" y="30163"/>
                    </a:cubicBezTo>
                    <a:cubicBezTo>
                      <a:pt x="101211" y="30163"/>
                      <a:pt x="95509" y="30163"/>
                      <a:pt x="90520" y="30163"/>
                    </a:cubicBezTo>
                    <a:cubicBezTo>
                      <a:pt x="15681" y="30163"/>
                      <a:pt x="15681" y="30163"/>
                      <a:pt x="15681" y="30163"/>
                    </a:cubicBezTo>
                    <a:cubicBezTo>
                      <a:pt x="7128" y="30163"/>
                      <a:pt x="0" y="23148"/>
                      <a:pt x="0" y="15432"/>
                    </a:cubicBezTo>
                    <a:cubicBezTo>
                      <a:pt x="0" y="6313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716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30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C74C-AE5C-42D9-83A5-811610910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478" y="389221"/>
            <a:ext cx="11615045" cy="6647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Fase 3 | </a:t>
            </a:r>
            <a:r>
              <a:rPr lang="en-US" dirty="0" err="1"/>
              <a:t>Edades</a:t>
            </a:r>
            <a:r>
              <a:rPr lang="en-US" dirty="0"/>
              <a:t> de 16 a 64 con </a:t>
            </a:r>
            <a:r>
              <a:rPr lang="en-US" dirty="0" err="1"/>
              <a:t>riesgos</a:t>
            </a:r>
            <a:r>
              <a:rPr lang="en-US" dirty="0"/>
              <a:t> medicos </a:t>
            </a:r>
            <a:r>
              <a:rPr lang="en-US" b="1" u="sng" dirty="0" err="1"/>
              <a:t>severos</a:t>
            </a:r>
            <a:r>
              <a:rPr lang="en-US" dirty="0"/>
              <a:t>: </a:t>
            </a:r>
            <a:r>
              <a:rPr lang="en-US" dirty="0" err="1"/>
              <a:t>Identificando</a:t>
            </a:r>
            <a:r>
              <a:rPr lang="en-US" dirty="0"/>
              <a:t> </a:t>
            </a:r>
            <a:r>
              <a:rPr lang="en-US" dirty="0" err="1"/>
              <a:t>las</a:t>
            </a:r>
            <a:r>
              <a:rPr lang="en-US" dirty="0"/>
              <a:t> </a:t>
            </a:r>
            <a:r>
              <a:rPr lang="en-US" dirty="0" err="1"/>
              <a:t>características</a:t>
            </a:r>
            <a:r>
              <a:rPr lang="en-US" dirty="0"/>
              <a:t> y </a:t>
            </a:r>
            <a:r>
              <a:rPr lang="en-US" dirty="0" err="1"/>
              <a:t>definición</a:t>
            </a:r>
            <a:r>
              <a:rPr lang="en-US" dirty="0"/>
              <a:t> del </a:t>
            </a:r>
            <a:r>
              <a:rPr lang="en-US" dirty="0" err="1"/>
              <a:t>trabajo</a:t>
            </a:r>
            <a:r>
              <a:rPr lang="en-US" dirty="0"/>
              <a:t>  </a:t>
            </a:r>
          </a:p>
        </p:txBody>
      </p:sp>
      <p:sp>
        <p:nvSpPr>
          <p:cNvPr id="6" name="ee4pFootnotes">
            <a:extLst>
              <a:ext uri="{FF2B5EF4-FFF2-40B4-BE49-F238E27FC236}">
                <a16:creationId xmlns:a16="http://schemas.microsoft.com/office/drawing/2014/main" id="{B4D64235-AE16-4654-ABC1-1B2D5868F4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478" y="6194952"/>
            <a:ext cx="11615045" cy="415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La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acun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actualment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isponibl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n lo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tad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Unid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n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han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id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proba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n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mujer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mbarazad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Po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l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tant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, no hay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at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tadístic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pecífic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eguridad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para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u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us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urant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l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mbaraz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important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onversa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con un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médic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en tale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as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, y s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eb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apoya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la decision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l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personas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qu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decidan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no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poners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acuna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.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Ver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la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lang="en-US" sz="9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R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ecomendacion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 de ACOG 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(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olegio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Americano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Obstetric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y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Ginecólog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). Fuentes: Centro para el control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enfermedad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- CDC,  "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Resumen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cambio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recientes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"  https://www.cdc.gov/coronavirus/2019-ncov/need-extra-precautions/people-with-medical-conditions.html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5BD9B3A2-A7C5-43DA-B99F-C233B960B821}"/>
              </a:ext>
            </a:extLst>
          </p:cNvPr>
          <p:cNvSpPr txBox="1"/>
          <p:nvPr/>
        </p:nvSpPr>
        <p:spPr>
          <a:xfrm>
            <a:off x="3468029" y="2769758"/>
            <a:ext cx="8435493" cy="47952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s en el grupo de edad objetivo que hayan sido diagnosticadas con cualquiera de las condiciones enumeradas hasta estos momentos en la lista de «datos e información concluyente»,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proporcionada por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el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CDC </a:t>
            </a:r>
            <a:r>
              <a:rPr lang="es-CO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ver la parte inferior).</a:t>
            </a:r>
          </a:p>
        </p:txBody>
      </p:sp>
      <p:sp>
        <p:nvSpPr>
          <p:cNvPr id="37" name="ee4pHeader1">
            <a:extLst>
              <a:ext uri="{FF2B5EF4-FFF2-40B4-BE49-F238E27FC236}">
                <a16:creationId xmlns:a16="http://schemas.microsoft.com/office/drawing/2014/main" id="{99576483-DC11-4253-A79D-8030C41DDDB7}"/>
              </a:ext>
            </a:extLst>
          </p:cNvPr>
          <p:cNvSpPr txBox="1"/>
          <p:nvPr/>
        </p:nvSpPr>
        <p:spPr>
          <a:xfrm>
            <a:off x="3468029" y="1445448"/>
            <a:ext cx="8435493" cy="73866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as de 16 a 64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ño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con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dicione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édicas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mentan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l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esgo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aer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252306-3D77-40FD-9AB8-1540045624C6}"/>
              </a:ext>
            </a:extLst>
          </p:cNvPr>
          <p:cNvSpPr txBox="1"/>
          <p:nvPr/>
        </p:nvSpPr>
        <p:spPr>
          <a:xfrm>
            <a:off x="3450580" y="3791313"/>
            <a:ext cx="8435493" cy="215443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Actualmente en la lista, la cual se pone al día regularmente a medida que hay nueva evidencia disponible 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Cáncer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Enfermedad crónica de los riñones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Enfermedad crónica de obstrucción pulmonaria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Síndrome de Down 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Condiciones cardíacas, tales como cardiopatías 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/>
                </a:solidFill>
                <a:latin typeface="Calibri" panose="020F0502020204030204" pitchFamily="34" charset="0"/>
              </a:rPr>
              <a:t>Estado de compromiso inmunológico debido al trasplante de un órgano sólido  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Diabetes mellitus tipo 2 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Anemia de células falciformes </a:t>
            </a:r>
          </a:p>
          <a:p>
            <a:pPr marL="378000" lvl="1" indent="-252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Pacientes embarazadas</a:t>
            </a:r>
            <a:r>
              <a:rPr lang="es-HN" sz="1400" baseline="300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1</a:t>
            </a:r>
            <a:r>
              <a:rPr lang="es-HN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</a:rPr>
              <a:t>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7F5469D-5785-4FF3-999B-CB75B4AB6A3D}"/>
              </a:ext>
            </a:extLst>
          </p:cNvPr>
          <p:cNvCxnSpPr/>
          <p:nvPr/>
        </p:nvCxnSpPr>
        <p:spPr>
          <a:xfrm>
            <a:off x="3468029" y="3542110"/>
            <a:ext cx="843549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2B8311-ADFE-4A28-A8C6-73857A476D07}"/>
              </a:ext>
            </a:extLst>
          </p:cNvPr>
          <p:cNvCxnSpPr/>
          <p:nvPr/>
        </p:nvCxnSpPr>
        <p:spPr>
          <a:xfrm>
            <a:off x="3468029" y="2476935"/>
            <a:ext cx="8435493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2F2A7B3-D6BB-48F6-B69F-7214E8CD27F2}"/>
              </a:ext>
            </a:extLst>
          </p:cNvPr>
          <p:cNvGrpSpPr/>
          <p:nvPr/>
        </p:nvGrpSpPr>
        <p:grpSpPr>
          <a:xfrm>
            <a:off x="-1" y="3834935"/>
            <a:ext cx="3361060" cy="738663"/>
            <a:chOff x="-1" y="4475358"/>
            <a:chExt cx="3361060" cy="738663"/>
          </a:xfrm>
        </p:grpSpPr>
        <p:sp>
          <p:nvSpPr>
            <p:cNvPr id="85" name="Rectangle: Top Corners Rounded 84">
              <a:extLst>
                <a:ext uri="{FF2B5EF4-FFF2-40B4-BE49-F238E27FC236}">
                  <a16:creationId xmlns:a16="http://schemas.microsoft.com/office/drawing/2014/main" id="{31470719-9A47-470A-B67E-02552711DF7C}"/>
                </a:ext>
              </a:extLst>
            </p:cNvPr>
            <p:cNvSpPr/>
            <p:nvPr/>
          </p:nvSpPr>
          <p:spPr>
            <a:xfrm rot="5400000">
              <a:off x="1311197" y="316416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58" name="ee4pHeader1">
              <a:extLst>
                <a:ext uri="{FF2B5EF4-FFF2-40B4-BE49-F238E27FC236}">
                  <a16:creationId xmlns:a16="http://schemas.microsoft.com/office/drawing/2014/main" id="{E7F06789-D3BC-4918-A9EF-0C0DD6FCF9E3}"/>
                </a:ext>
              </a:extLst>
            </p:cNvPr>
            <p:cNvSpPr txBox="1"/>
            <p:nvPr/>
          </p:nvSpPr>
          <p:spPr>
            <a:xfrm>
              <a:off x="288478" y="4567691"/>
              <a:ext cx="2923073" cy="55399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Ejempl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grup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incluíd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F8096C6B-D1DE-4DF8-8CB5-A0C6624FD5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94" y="4621503"/>
              <a:ext cx="446374" cy="446374"/>
              <a:chOff x="5273803" y="2606803"/>
              <a:chExt cx="1645920" cy="1645920"/>
            </a:xfrm>
          </p:grpSpPr>
          <p:sp>
            <p:nvSpPr>
              <p:cNvPr id="70" name="AutoShape 23">
                <a:extLst>
                  <a:ext uri="{FF2B5EF4-FFF2-40B4-BE49-F238E27FC236}">
                    <a16:creationId xmlns:a16="http://schemas.microsoft.com/office/drawing/2014/main" id="{62B18B25-0EB8-45F3-BFFF-DD6BFA36E6C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2252E39A-8CC0-4F03-99B2-82590A1737F7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72" name="Freeform 25">
                  <a:extLst>
                    <a:ext uri="{FF2B5EF4-FFF2-40B4-BE49-F238E27FC236}">
                      <a16:creationId xmlns:a16="http://schemas.microsoft.com/office/drawing/2014/main" id="{50C2BBA6-A012-4188-AC95-091A6BE3DE9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26">
                  <a:extLst>
                    <a:ext uri="{FF2B5EF4-FFF2-40B4-BE49-F238E27FC236}">
                      <a16:creationId xmlns:a16="http://schemas.microsoft.com/office/drawing/2014/main" id="{CE73B817-D84A-47E9-8073-B40D6947AE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D6A6313-F2AC-4B96-AE76-F1363BD7B212}"/>
              </a:ext>
            </a:extLst>
          </p:cNvPr>
          <p:cNvGrpSpPr/>
          <p:nvPr/>
        </p:nvGrpSpPr>
        <p:grpSpPr>
          <a:xfrm>
            <a:off x="-1" y="2640191"/>
            <a:ext cx="3361060" cy="738663"/>
            <a:chOff x="-1" y="2404883"/>
            <a:chExt cx="3361060" cy="738663"/>
          </a:xfrm>
        </p:grpSpPr>
        <p:sp>
          <p:nvSpPr>
            <p:cNvPr id="49" name="Rectangle: Top Corners Rounded 48">
              <a:extLst>
                <a:ext uri="{FF2B5EF4-FFF2-40B4-BE49-F238E27FC236}">
                  <a16:creationId xmlns:a16="http://schemas.microsoft.com/office/drawing/2014/main" id="{FB1D4A7D-A057-40F0-8D6F-126C4F5FE216}"/>
                </a:ext>
              </a:extLst>
            </p:cNvPr>
            <p:cNvSpPr/>
            <p:nvPr/>
          </p:nvSpPr>
          <p:spPr>
            <a:xfrm rot="5400000">
              <a:off x="1311197" y="1093685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50" name="ee4pHeader1">
              <a:extLst>
                <a:ext uri="{FF2B5EF4-FFF2-40B4-BE49-F238E27FC236}">
                  <a16:creationId xmlns:a16="http://schemas.microsoft.com/office/drawing/2014/main" id="{AAAE9409-232E-473A-A460-10217C294E67}"/>
                </a:ext>
              </a:extLst>
            </p:cNvPr>
            <p:cNvSpPr txBox="1"/>
            <p:nvPr/>
          </p:nvSpPr>
          <p:spPr>
            <a:xfrm>
              <a:off x="288478" y="2635715"/>
              <a:ext cx="2923073" cy="2769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scrip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C41AA7F-FD9A-42F9-A683-5AB5E4B5DDB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02" y="2551028"/>
              <a:ext cx="445944" cy="446374"/>
              <a:chOff x="5273675" y="2605088"/>
              <a:chExt cx="1644650" cy="1646237"/>
            </a:xfrm>
          </p:grpSpPr>
          <p:sp>
            <p:nvSpPr>
              <p:cNvPr id="52" name="AutoShape 13">
                <a:extLst>
                  <a:ext uri="{FF2B5EF4-FFF2-40B4-BE49-F238E27FC236}">
                    <a16:creationId xmlns:a16="http://schemas.microsoft.com/office/drawing/2014/main" id="{D3958757-6583-40F5-A2F0-7428091C491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7D1AF4A-8C3C-4B5D-B5E8-6F3F74F1F8B8}"/>
                  </a:ext>
                </a:extLst>
              </p:cNvPr>
              <p:cNvGrpSpPr/>
              <p:nvPr/>
            </p:nvGrpSpPr>
            <p:grpSpPr>
              <a:xfrm>
                <a:off x="5374481" y="2739232"/>
                <a:ext cx="1443038" cy="1377949"/>
                <a:chOff x="5373687" y="2738438"/>
                <a:chExt cx="1443038" cy="1377949"/>
              </a:xfrm>
            </p:grpSpPr>
            <p:sp>
              <p:nvSpPr>
                <p:cNvPr id="54" name="Freeform 15">
                  <a:extLst>
                    <a:ext uri="{FF2B5EF4-FFF2-40B4-BE49-F238E27FC236}">
                      <a16:creationId xmlns:a16="http://schemas.microsoft.com/office/drawing/2014/main" id="{8DFBCED0-131E-4F94-9189-BF85153B57D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37225" y="2797175"/>
                  <a:ext cx="701675" cy="582612"/>
                </a:xfrm>
                <a:custGeom>
                  <a:avLst/>
                  <a:gdLst>
                    <a:gd name="T0" fmla="*/ 958 w 983"/>
                    <a:gd name="T1" fmla="*/ 576 h 816"/>
                    <a:gd name="T2" fmla="*/ 960 w 983"/>
                    <a:gd name="T3" fmla="*/ 487 h 816"/>
                    <a:gd name="T4" fmla="*/ 139 w 983"/>
                    <a:gd name="T5" fmla="*/ 142 h 816"/>
                    <a:gd name="T6" fmla="*/ 31 w 983"/>
                    <a:gd name="T7" fmla="*/ 692 h 816"/>
                    <a:gd name="T8" fmla="*/ 48 w 983"/>
                    <a:gd name="T9" fmla="*/ 700 h 816"/>
                    <a:gd name="T10" fmla="*/ 62 w 983"/>
                    <a:gd name="T11" fmla="*/ 695 h 816"/>
                    <a:gd name="T12" fmla="*/ 65 w 983"/>
                    <a:gd name="T13" fmla="*/ 664 h 816"/>
                    <a:gd name="T14" fmla="*/ 87 w 983"/>
                    <a:gd name="T15" fmla="*/ 291 h 816"/>
                    <a:gd name="T16" fmla="*/ 212 w 983"/>
                    <a:gd name="T17" fmla="*/ 414 h 816"/>
                    <a:gd name="T18" fmla="*/ 155 w 983"/>
                    <a:gd name="T19" fmla="*/ 455 h 816"/>
                    <a:gd name="T20" fmla="*/ 242 w 983"/>
                    <a:gd name="T21" fmla="*/ 455 h 816"/>
                    <a:gd name="T22" fmla="*/ 330 w 983"/>
                    <a:gd name="T23" fmla="*/ 364 h 816"/>
                    <a:gd name="T24" fmla="*/ 353 w 983"/>
                    <a:gd name="T25" fmla="*/ 365 h 816"/>
                    <a:gd name="T26" fmla="*/ 408 w 983"/>
                    <a:gd name="T27" fmla="*/ 467 h 816"/>
                    <a:gd name="T28" fmla="*/ 376 w 983"/>
                    <a:gd name="T29" fmla="*/ 659 h 816"/>
                    <a:gd name="T30" fmla="*/ 349 w 983"/>
                    <a:gd name="T31" fmla="*/ 679 h 816"/>
                    <a:gd name="T32" fmla="*/ 170 w 983"/>
                    <a:gd name="T33" fmla="*/ 675 h 816"/>
                    <a:gd name="T34" fmla="*/ 122 w 983"/>
                    <a:gd name="T35" fmla="*/ 676 h 816"/>
                    <a:gd name="T36" fmla="*/ 104 w 983"/>
                    <a:gd name="T37" fmla="*/ 712 h 816"/>
                    <a:gd name="T38" fmla="*/ 147 w 983"/>
                    <a:gd name="T39" fmla="*/ 755 h 816"/>
                    <a:gd name="T40" fmla="*/ 348 w 983"/>
                    <a:gd name="T41" fmla="*/ 723 h 816"/>
                    <a:gd name="T42" fmla="*/ 417 w 983"/>
                    <a:gd name="T43" fmla="*/ 816 h 816"/>
                    <a:gd name="T44" fmla="*/ 420 w 983"/>
                    <a:gd name="T45" fmla="*/ 729 h 816"/>
                    <a:gd name="T46" fmla="*/ 474 w 983"/>
                    <a:gd name="T47" fmla="*/ 740 h 816"/>
                    <a:gd name="T48" fmla="*/ 558 w 983"/>
                    <a:gd name="T49" fmla="*/ 739 h 816"/>
                    <a:gd name="T50" fmla="*/ 617 w 983"/>
                    <a:gd name="T51" fmla="*/ 735 h 816"/>
                    <a:gd name="T52" fmla="*/ 626 w 983"/>
                    <a:gd name="T53" fmla="*/ 816 h 816"/>
                    <a:gd name="T54" fmla="*/ 682 w 983"/>
                    <a:gd name="T55" fmla="*/ 725 h 816"/>
                    <a:gd name="T56" fmla="*/ 852 w 983"/>
                    <a:gd name="T57" fmla="*/ 765 h 816"/>
                    <a:gd name="T58" fmla="*/ 896 w 983"/>
                    <a:gd name="T59" fmla="*/ 721 h 816"/>
                    <a:gd name="T60" fmla="*/ 852 w 983"/>
                    <a:gd name="T61" fmla="*/ 678 h 816"/>
                    <a:gd name="T62" fmla="*/ 683 w 983"/>
                    <a:gd name="T63" fmla="*/ 680 h 816"/>
                    <a:gd name="T64" fmla="*/ 654 w 983"/>
                    <a:gd name="T65" fmla="*/ 659 h 816"/>
                    <a:gd name="T66" fmla="*/ 613 w 983"/>
                    <a:gd name="T67" fmla="*/ 467 h 816"/>
                    <a:gd name="T68" fmla="*/ 674 w 983"/>
                    <a:gd name="T69" fmla="*/ 366 h 816"/>
                    <a:gd name="T70" fmla="*/ 695 w 983"/>
                    <a:gd name="T71" fmla="*/ 361 h 816"/>
                    <a:gd name="T72" fmla="*/ 765 w 983"/>
                    <a:gd name="T73" fmla="*/ 437 h 816"/>
                    <a:gd name="T74" fmla="*/ 852 w 983"/>
                    <a:gd name="T75" fmla="*/ 437 h 816"/>
                    <a:gd name="T76" fmla="*/ 796 w 983"/>
                    <a:gd name="T77" fmla="*/ 395 h 816"/>
                    <a:gd name="T78" fmla="*/ 870 w 983"/>
                    <a:gd name="T79" fmla="*/ 286 h 816"/>
                    <a:gd name="T80" fmla="*/ 916 w 983"/>
                    <a:gd name="T81" fmla="*/ 505 h 816"/>
                    <a:gd name="T82" fmla="*/ 914 w 983"/>
                    <a:gd name="T83" fmla="*/ 572 h 816"/>
                    <a:gd name="T84" fmla="*/ 939 w 983"/>
                    <a:gd name="T85" fmla="*/ 668 h 816"/>
                    <a:gd name="T86" fmla="*/ 977 w 983"/>
                    <a:gd name="T87" fmla="*/ 647 h 816"/>
                    <a:gd name="T88" fmla="*/ 612 w 983"/>
                    <a:gd name="T89" fmla="*/ 673 h 816"/>
                    <a:gd name="T90" fmla="*/ 547 w 983"/>
                    <a:gd name="T91" fmla="*/ 696 h 816"/>
                    <a:gd name="T92" fmla="*/ 484 w 983"/>
                    <a:gd name="T93" fmla="*/ 697 h 816"/>
                    <a:gd name="T94" fmla="*/ 418 w 983"/>
                    <a:gd name="T95" fmla="*/ 673 h 816"/>
                    <a:gd name="T96" fmla="*/ 468 w 983"/>
                    <a:gd name="T97" fmla="*/ 507 h 816"/>
                    <a:gd name="T98" fmla="*/ 532 w 983"/>
                    <a:gd name="T99" fmla="*/ 489 h 816"/>
                    <a:gd name="T100" fmla="*/ 609 w 983"/>
                    <a:gd name="T101" fmla="*/ 665 h 816"/>
                    <a:gd name="T102" fmla="*/ 569 w 983"/>
                    <a:gd name="T103" fmla="*/ 423 h 816"/>
                    <a:gd name="T104" fmla="*/ 489 w 983"/>
                    <a:gd name="T105" fmla="*/ 445 h 816"/>
                    <a:gd name="T106" fmla="*/ 390 w 983"/>
                    <a:gd name="T107" fmla="*/ 341 h 816"/>
                    <a:gd name="T108" fmla="*/ 636 w 983"/>
                    <a:gd name="T109" fmla="*/ 343 h 816"/>
                    <a:gd name="T110" fmla="*/ 703 w 983"/>
                    <a:gd name="T111" fmla="*/ 290 h 816"/>
                    <a:gd name="T112" fmla="*/ 639 w 983"/>
                    <a:gd name="T113" fmla="*/ 297 h 816"/>
                    <a:gd name="T114" fmla="*/ 344 w 983"/>
                    <a:gd name="T115" fmla="*/ 279 h 816"/>
                    <a:gd name="T116" fmla="*/ 109 w 983"/>
                    <a:gd name="T117" fmla="*/ 251 h 816"/>
                    <a:gd name="T118" fmla="*/ 848 w 983"/>
                    <a:gd name="T119" fmla="*/ 246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83" h="816">
                      <a:moveTo>
                        <a:pt x="977" y="647"/>
                      </a:moveTo>
                      <a:cubicBezTo>
                        <a:pt x="958" y="612"/>
                        <a:pt x="957" y="586"/>
                        <a:pt x="958" y="576"/>
                      </a:cubicBezTo>
                      <a:cubicBezTo>
                        <a:pt x="960" y="552"/>
                        <a:pt x="960" y="528"/>
                        <a:pt x="960" y="505"/>
                      </a:cubicBezTo>
                      <a:cubicBezTo>
                        <a:pt x="960" y="499"/>
                        <a:pt x="960" y="493"/>
                        <a:pt x="960" y="487"/>
                      </a:cubicBezTo>
                      <a:cubicBezTo>
                        <a:pt x="960" y="214"/>
                        <a:pt x="749" y="0"/>
                        <a:pt x="481" y="0"/>
                      </a:cubicBezTo>
                      <a:cubicBezTo>
                        <a:pt x="350" y="0"/>
                        <a:pt x="229" y="50"/>
                        <a:pt x="139" y="142"/>
                      </a:cubicBezTo>
                      <a:cubicBezTo>
                        <a:pt x="49" y="234"/>
                        <a:pt x="0" y="356"/>
                        <a:pt x="0" y="487"/>
                      </a:cubicBezTo>
                      <a:cubicBezTo>
                        <a:pt x="0" y="489"/>
                        <a:pt x="2" y="657"/>
                        <a:pt x="31" y="692"/>
                      </a:cubicBezTo>
                      <a:cubicBezTo>
                        <a:pt x="33" y="694"/>
                        <a:pt x="35" y="696"/>
                        <a:pt x="37" y="697"/>
                      </a:cubicBezTo>
                      <a:cubicBezTo>
                        <a:pt x="41" y="699"/>
                        <a:pt x="45" y="700"/>
                        <a:pt x="48" y="700"/>
                      </a:cubicBezTo>
                      <a:cubicBezTo>
                        <a:pt x="49" y="700"/>
                        <a:pt x="49" y="700"/>
                        <a:pt x="50" y="700"/>
                      </a:cubicBezTo>
                      <a:cubicBezTo>
                        <a:pt x="54" y="699"/>
                        <a:pt x="59" y="698"/>
                        <a:pt x="62" y="695"/>
                      </a:cubicBezTo>
                      <a:cubicBezTo>
                        <a:pt x="68" y="690"/>
                        <a:pt x="70" y="684"/>
                        <a:pt x="70" y="677"/>
                      </a:cubicBezTo>
                      <a:cubicBezTo>
                        <a:pt x="70" y="672"/>
                        <a:pt x="68" y="668"/>
                        <a:pt x="65" y="664"/>
                      </a:cubicBezTo>
                      <a:cubicBezTo>
                        <a:pt x="55" y="650"/>
                        <a:pt x="44" y="555"/>
                        <a:pt x="44" y="487"/>
                      </a:cubicBezTo>
                      <a:cubicBezTo>
                        <a:pt x="44" y="416"/>
                        <a:pt x="60" y="350"/>
                        <a:pt x="87" y="291"/>
                      </a:cubicBezTo>
                      <a:cubicBezTo>
                        <a:pt x="299" y="333"/>
                        <a:pt x="299" y="333"/>
                        <a:pt x="299" y="333"/>
                      </a:cubicBezTo>
                      <a:cubicBezTo>
                        <a:pt x="212" y="414"/>
                        <a:pt x="212" y="414"/>
                        <a:pt x="212" y="414"/>
                      </a:cubicBezTo>
                      <a:cubicBezTo>
                        <a:pt x="207" y="413"/>
                        <a:pt x="203" y="412"/>
                        <a:pt x="198" y="412"/>
                      </a:cubicBezTo>
                      <a:cubicBezTo>
                        <a:pt x="174" y="412"/>
                        <a:pt x="155" y="431"/>
                        <a:pt x="155" y="455"/>
                      </a:cubicBezTo>
                      <a:cubicBezTo>
                        <a:pt x="155" y="479"/>
                        <a:pt x="174" y="499"/>
                        <a:pt x="198" y="499"/>
                      </a:cubicBezTo>
                      <a:cubicBezTo>
                        <a:pt x="222" y="499"/>
                        <a:pt x="242" y="479"/>
                        <a:pt x="242" y="455"/>
                      </a:cubicBezTo>
                      <a:cubicBezTo>
                        <a:pt x="242" y="452"/>
                        <a:pt x="242" y="449"/>
                        <a:pt x="241" y="447"/>
                      </a:cubicBezTo>
                      <a:cubicBezTo>
                        <a:pt x="330" y="364"/>
                        <a:pt x="330" y="364"/>
                        <a:pt x="330" y="364"/>
                      </a:cubicBezTo>
                      <a:cubicBezTo>
                        <a:pt x="335" y="365"/>
                        <a:pt x="339" y="366"/>
                        <a:pt x="344" y="366"/>
                      </a:cubicBezTo>
                      <a:cubicBezTo>
                        <a:pt x="347" y="366"/>
                        <a:pt x="350" y="366"/>
                        <a:pt x="353" y="365"/>
                      </a:cubicBezTo>
                      <a:cubicBezTo>
                        <a:pt x="413" y="445"/>
                        <a:pt x="413" y="445"/>
                        <a:pt x="413" y="445"/>
                      </a:cubicBezTo>
                      <a:cubicBezTo>
                        <a:pt x="410" y="451"/>
                        <a:pt x="408" y="459"/>
                        <a:pt x="408" y="467"/>
                      </a:cubicBezTo>
                      <a:cubicBezTo>
                        <a:pt x="408" y="481"/>
                        <a:pt x="414" y="493"/>
                        <a:pt x="424" y="501"/>
                      </a:cubicBezTo>
                      <a:cubicBezTo>
                        <a:pt x="376" y="659"/>
                        <a:pt x="376" y="659"/>
                        <a:pt x="376" y="659"/>
                      </a:cubicBezTo>
                      <a:cubicBezTo>
                        <a:pt x="368" y="661"/>
                        <a:pt x="361" y="665"/>
                        <a:pt x="355" y="671"/>
                      </a:cubicBezTo>
                      <a:cubicBezTo>
                        <a:pt x="353" y="673"/>
                        <a:pt x="350" y="676"/>
                        <a:pt x="349" y="679"/>
                      </a:cubicBezTo>
                      <a:cubicBezTo>
                        <a:pt x="184" y="689"/>
                        <a:pt x="184" y="689"/>
                        <a:pt x="184" y="689"/>
                      </a:cubicBezTo>
                      <a:cubicBezTo>
                        <a:pt x="181" y="683"/>
                        <a:pt x="176" y="679"/>
                        <a:pt x="170" y="675"/>
                      </a:cubicBezTo>
                      <a:cubicBezTo>
                        <a:pt x="164" y="671"/>
                        <a:pt x="156" y="668"/>
                        <a:pt x="147" y="668"/>
                      </a:cubicBezTo>
                      <a:cubicBezTo>
                        <a:pt x="138" y="668"/>
                        <a:pt x="129" y="671"/>
                        <a:pt x="122" y="676"/>
                      </a:cubicBezTo>
                      <a:cubicBezTo>
                        <a:pt x="113" y="683"/>
                        <a:pt x="106" y="694"/>
                        <a:pt x="104" y="706"/>
                      </a:cubicBezTo>
                      <a:cubicBezTo>
                        <a:pt x="104" y="708"/>
                        <a:pt x="104" y="710"/>
                        <a:pt x="104" y="712"/>
                      </a:cubicBezTo>
                      <a:cubicBezTo>
                        <a:pt x="104" y="726"/>
                        <a:pt x="110" y="738"/>
                        <a:pt x="121" y="746"/>
                      </a:cubicBezTo>
                      <a:cubicBezTo>
                        <a:pt x="128" y="752"/>
                        <a:pt x="137" y="755"/>
                        <a:pt x="147" y="755"/>
                      </a:cubicBezTo>
                      <a:cubicBezTo>
                        <a:pt x="164" y="755"/>
                        <a:pt x="178" y="746"/>
                        <a:pt x="185" y="733"/>
                      </a:cubicBezTo>
                      <a:cubicBezTo>
                        <a:pt x="348" y="723"/>
                        <a:pt x="348" y="723"/>
                        <a:pt x="348" y="723"/>
                      </a:cubicBezTo>
                      <a:cubicBezTo>
                        <a:pt x="354" y="734"/>
                        <a:pt x="365" y="743"/>
                        <a:pt x="378" y="745"/>
                      </a:cubicBezTo>
                      <a:cubicBezTo>
                        <a:pt x="417" y="816"/>
                        <a:pt x="417" y="816"/>
                        <a:pt x="417" y="816"/>
                      </a:cubicBezTo>
                      <a:cubicBezTo>
                        <a:pt x="468" y="816"/>
                        <a:pt x="468" y="816"/>
                        <a:pt x="468" y="816"/>
                      </a:cubicBezTo>
                      <a:cubicBezTo>
                        <a:pt x="420" y="729"/>
                        <a:pt x="420" y="729"/>
                        <a:pt x="420" y="729"/>
                      </a:cubicBezTo>
                      <a:cubicBezTo>
                        <a:pt x="420" y="729"/>
                        <a:pt x="420" y="728"/>
                        <a:pt x="420" y="728"/>
                      </a:cubicBezTo>
                      <a:cubicBezTo>
                        <a:pt x="474" y="740"/>
                        <a:pt x="474" y="740"/>
                        <a:pt x="474" y="740"/>
                      </a:cubicBezTo>
                      <a:cubicBezTo>
                        <a:pt x="480" y="758"/>
                        <a:pt x="496" y="771"/>
                        <a:pt x="516" y="771"/>
                      </a:cubicBezTo>
                      <a:cubicBezTo>
                        <a:pt x="536" y="771"/>
                        <a:pt x="553" y="757"/>
                        <a:pt x="558" y="739"/>
                      </a:cubicBezTo>
                      <a:cubicBezTo>
                        <a:pt x="610" y="728"/>
                        <a:pt x="610" y="728"/>
                        <a:pt x="610" y="728"/>
                      </a:cubicBezTo>
                      <a:cubicBezTo>
                        <a:pt x="612" y="731"/>
                        <a:pt x="614" y="733"/>
                        <a:pt x="617" y="735"/>
                      </a:cubicBezTo>
                      <a:cubicBezTo>
                        <a:pt x="577" y="816"/>
                        <a:pt x="577" y="816"/>
                        <a:pt x="577" y="816"/>
                      </a:cubicBezTo>
                      <a:cubicBezTo>
                        <a:pt x="626" y="816"/>
                        <a:pt x="626" y="816"/>
                        <a:pt x="626" y="816"/>
                      </a:cubicBezTo>
                      <a:cubicBezTo>
                        <a:pt x="663" y="741"/>
                        <a:pt x="663" y="741"/>
                        <a:pt x="663" y="741"/>
                      </a:cubicBezTo>
                      <a:cubicBezTo>
                        <a:pt x="671" y="738"/>
                        <a:pt x="677" y="732"/>
                        <a:pt x="682" y="725"/>
                      </a:cubicBezTo>
                      <a:cubicBezTo>
                        <a:pt x="812" y="738"/>
                        <a:pt x="812" y="738"/>
                        <a:pt x="812" y="738"/>
                      </a:cubicBezTo>
                      <a:cubicBezTo>
                        <a:pt x="818" y="754"/>
                        <a:pt x="834" y="765"/>
                        <a:pt x="852" y="765"/>
                      </a:cubicBezTo>
                      <a:cubicBezTo>
                        <a:pt x="858" y="765"/>
                        <a:pt x="863" y="764"/>
                        <a:pt x="868" y="762"/>
                      </a:cubicBezTo>
                      <a:cubicBezTo>
                        <a:pt x="884" y="755"/>
                        <a:pt x="896" y="740"/>
                        <a:pt x="896" y="721"/>
                      </a:cubicBezTo>
                      <a:cubicBezTo>
                        <a:pt x="896" y="717"/>
                        <a:pt x="895" y="713"/>
                        <a:pt x="894" y="709"/>
                      </a:cubicBezTo>
                      <a:cubicBezTo>
                        <a:pt x="889" y="691"/>
                        <a:pt x="872" y="678"/>
                        <a:pt x="852" y="678"/>
                      </a:cubicBezTo>
                      <a:cubicBezTo>
                        <a:pt x="838" y="678"/>
                        <a:pt x="826" y="684"/>
                        <a:pt x="818" y="694"/>
                      </a:cubicBezTo>
                      <a:cubicBezTo>
                        <a:pt x="683" y="680"/>
                        <a:pt x="683" y="680"/>
                        <a:pt x="683" y="680"/>
                      </a:cubicBezTo>
                      <a:cubicBezTo>
                        <a:pt x="679" y="674"/>
                        <a:pt x="673" y="668"/>
                        <a:pt x="666" y="664"/>
                      </a:cubicBezTo>
                      <a:cubicBezTo>
                        <a:pt x="662" y="662"/>
                        <a:pt x="658" y="660"/>
                        <a:pt x="654" y="659"/>
                      </a:cubicBezTo>
                      <a:cubicBezTo>
                        <a:pt x="598" y="499"/>
                        <a:pt x="598" y="499"/>
                        <a:pt x="598" y="499"/>
                      </a:cubicBezTo>
                      <a:cubicBezTo>
                        <a:pt x="607" y="491"/>
                        <a:pt x="613" y="480"/>
                        <a:pt x="613" y="467"/>
                      </a:cubicBezTo>
                      <a:cubicBezTo>
                        <a:pt x="613" y="459"/>
                        <a:pt x="611" y="453"/>
                        <a:pt x="608" y="447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82" y="366"/>
                        <a:pt x="689" y="364"/>
                        <a:pt x="695" y="361"/>
                      </a:cubicBezTo>
                      <a:cubicBezTo>
                        <a:pt x="766" y="427"/>
                        <a:pt x="766" y="427"/>
                        <a:pt x="766" y="427"/>
                      </a:cubicBezTo>
                      <a:cubicBezTo>
                        <a:pt x="765" y="430"/>
                        <a:pt x="765" y="433"/>
                        <a:pt x="765" y="437"/>
                      </a:cubicBezTo>
                      <a:cubicBezTo>
                        <a:pt x="765" y="461"/>
                        <a:pt x="785" y="480"/>
                        <a:pt x="809" y="480"/>
                      </a:cubicBezTo>
                      <a:cubicBezTo>
                        <a:pt x="833" y="480"/>
                        <a:pt x="852" y="461"/>
                        <a:pt x="852" y="437"/>
                      </a:cubicBezTo>
                      <a:cubicBezTo>
                        <a:pt x="852" y="413"/>
                        <a:pt x="833" y="393"/>
                        <a:pt x="809" y="393"/>
                      </a:cubicBezTo>
                      <a:cubicBezTo>
                        <a:pt x="804" y="393"/>
                        <a:pt x="800" y="394"/>
                        <a:pt x="796" y="395"/>
                      </a:cubicBezTo>
                      <a:cubicBezTo>
                        <a:pt x="726" y="329"/>
                        <a:pt x="726" y="329"/>
                        <a:pt x="726" y="329"/>
                      </a:cubicBezTo>
                      <a:cubicBezTo>
                        <a:pt x="870" y="286"/>
                        <a:pt x="870" y="286"/>
                        <a:pt x="870" y="286"/>
                      </a:cubicBezTo>
                      <a:cubicBezTo>
                        <a:pt x="899" y="346"/>
                        <a:pt x="916" y="414"/>
                        <a:pt x="916" y="487"/>
                      </a:cubicBezTo>
                      <a:cubicBezTo>
                        <a:pt x="916" y="493"/>
                        <a:pt x="916" y="499"/>
                        <a:pt x="916" y="505"/>
                      </a:cubicBezTo>
                      <a:cubicBezTo>
                        <a:pt x="916" y="528"/>
                        <a:pt x="916" y="550"/>
                        <a:pt x="914" y="572"/>
                      </a:cubicBezTo>
                      <a:cubicBezTo>
                        <a:pt x="914" y="572"/>
                        <a:pt x="914" y="572"/>
                        <a:pt x="914" y="572"/>
                      </a:cubicBezTo>
                      <a:cubicBezTo>
                        <a:pt x="912" y="598"/>
                        <a:pt x="919" y="629"/>
                        <a:pt x="933" y="658"/>
                      </a:cubicBezTo>
                      <a:cubicBezTo>
                        <a:pt x="935" y="661"/>
                        <a:pt x="937" y="665"/>
                        <a:pt x="939" y="668"/>
                      </a:cubicBezTo>
                      <a:cubicBezTo>
                        <a:pt x="945" y="679"/>
                        <a:pt x="958" y="683"/>
                        <a:pt x="969" y="677"/>
                      </a:cubicBezTo>
                      <a:cubicBezTo>
                        <a:pt x="979" y="671"/>
                        <a:pt x="983" y="657"/>
                        <a:pt x="977" y="647"/>
                      </a:cubicBezTo>
                      <a:close/>
                      <a:moveTo>
                        <a:pt x="609" y="665"/>
                      </a:moveTo>
                      <a:cubicBezTo>
                        <a:pt x="612" y="673"/>
                        <a:pt x="612" y="673"/>
                        <a:pt x="612" y="673"/>
                      </a:cubicBezTo>
                      <a:cubicBezTo>
                        <a:pt x="609" y="677"/>
                        <a:pt x="607" y="680"/>
                        <a:pt x="605" y="684"/>
                      </a:cubicBezTo>
                      <a:cubicBezTo>
                        <a:pt x="547" y="696"/>
                        <a:pt x="547" y="696"/>
                        <a:pt x="547" y="696"/>
                      </a:cubicBezTo>
                      <a:cubicBezTo>
                        <a:pt x="539" y="688"/>
                        <a:pt x="528" y="684"/>
                        <a:pt x="516" y="684"/>
                      </a:cubicBezTo>
                      <a:cubicBezTo>
                        <a:pt x="503" y="684"/>
                        <a:pt x="492" y="689"/>
                        <a:pt x="484" y="697"/>
                      </a:cubicBezTo>
                      <a:cubicBezTo>
                        <a:pt x="425" y="684"/>
                        <a:pt x="425" y="684"/>
                        <a:pt x="425" y="684"/>
                      </a:cubicBezTo>
                      <a:cubicBezTo>
                        <a:pt x="424" y="680"/>
                        <a:pt x="421" y="676"/>
                        <a:pt x="418" y="673"/>
                      </a:cubicBezTo>
                      <a:cubicBezTo>
                        <a:pt x="419" y="669"/>
                        <a:pt x="419" y="669"/>
                        <a:pt x="419" y="669"/>
                      </a:cubicBezTo>
                      <a:cubicBezTo>
                        <a:pt x="468" y="507"/>
                        <a:pt x="468" y="507"/>
                        <a:pt x="468" y="507"/>
                      </a:cubicBezTo>
                      <a:cubicBezTo>
                        <a:pt x="477" y="503"/>
                        <a:pt x="484" y="497"/>
                        <a:pt x="489" y="489"/>
                      </a:cubicBezTo>
                      <a:cubicBezTo>
                        <a:pt x="532" y="489"/>
                        <a:pt x="532" y="489"/>
                        <a:pt x="532" y="489"/>
                      </a:cubicBezTo>
                      <a:cubicBezTo>
                        <a:pt x="537" y="497"/>
                        <a:pt x="545" y="504"/>
                        <a:pt x="554" y="507"/>
                      </a:cubicBezTo>
                      <a:lnTo>
                        <a:pt x="609" y="665"/>
                      </a:lnTo>
                      <a:close/>
                      <a:moveTo>
                        <a:pt x="570" y="423"/>
                      </a:moveTo>
                      <a:cubicBezTo>
                        <a:pt x="570" y="423"/>
                        <a:pt x="570" y="423"/>
                        <a:pt x="569" y="423"/>
                      </a:cubicBezTo>
                      <a:cubicBezTo>
                        <a:pt x="553" y="423"/>
                        <a:pt x="539" y="432"/>
                        <a:pt x="532" y="445"/>
                      </a:cubicBezTo>
                      <a:cubicBezTo>
                        <a:pt x="489" y="445"/>
                        <a:pt x="489" y="445"/>
                        <a:pt x="489" y="445"/>
                      </a:cubicBezTo>
                      <a:cubicBezTo>
                        <a:pt x="481" y="432"/>
                        <a:pt x="468" y="424"/>
                        <a:pt x="452" y="423"/>
                      </a:cubicBezTo>
                      <a:cubicBezTo>
                        <a:pt x="390" y="341"/>
                        <a:pt x="390" y="341"/>
                        <a:pt x="390" y="341"/>
                      </a:cubicBezTo>
                      <a:cubicBezTo>
                        <a:pt x="635" y="341"/>
                        <a:pt x="635" y="341"/>
                        <a:pt x="635" y="341"/>
                      </a:cubicBezTo>
                      <a:cubicBezTo>
                        <a:pt x="635" y="342"/>
                        <a:pt x="636" y="342"/>
                        <a:pt x="636" y="343"/>
                      </a:cubicBezTo>
                      <a:lnTo>
                        <a:pt x="570" y="423"/>
                      </a:lnTo>
                      <a:close/>
                      <a:moveTo>
                        <a:pt x="703" y="290"/>
                      </a:moveTo>
                      <a:cubicBezTo>
                        <a:pt x="696" y="283"/>
                        <a:pt x="686" y="279"/>
                        <a:pt x="674" y="279"/>
                      </a:cubicBezTo>
                      <a:cubicBezTo>
                        <a:pt x="660" y="279"/>
                        <a:pt x="647" y="286"/>
                        <a:pt x="639" y="297"/>
                      </a:cubicBezTo>
                      <a:cubicBezTo>
                        <a:pt x="380" y="297"/>
                        <a:pt x="380" y="297"/>
                        <a:pt x="380" y="297"/>
                      </a:cubicBezTo>
                      <a:cubicBezTo>
                        <a:pt x="372" y="286"/>
                        <a:pt x="359" y="279"/>
                        <a:pt x="344" y="279"/>
                      </a:cubicBezTo>
                      <a:cubicBezTo>
                        <a:pt x="333" y="279"/>
                        <a:pt x="322" y="284"/>
                        <a:pt x="315" y="291"/>
                      </a:cubicBezTo>
                      <a:cubicBezTo>
                        <a:pt x="109" y="251"/>
                        <a:pt x="109" y="251"/>
                        <a:pt x="109" y="251"/>
                      </a:cubicBezTo>
                      <a:cubicBezTo>
                        <a:pt x="186" y="125"/>
                        <a:pt x="322" y="44"/>
                        <a:pt x="481" y="44"/>
                      </a:cubicBezTo>
                      <a:cubicBezTo>
                        <a:pt x="637" y="44"/>
                        <a:pt x="772" y="124"/>
                        <a:pt x="848" y="246"/>
                      </a:cubicBezTo>
                      <a:lnTo>
                        <a:pt x="703" y="2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6">
                  <a:extLst>
                    <a:ext uri="{FF2B5EF4-FFF2-40B4-BE49-F238E27FC236}">
                      <a16:creationId xmlns:a16="http://schemas.microsoft.com/office/drawing/2014/main" id="{7A590CA1-ACC2-44C4-A69F-7631C17AB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687" y="2738438"/>
                  <a:ext cx="1443038" cy="1377949"/>
                </a:xfrm>
                <a:custGeom>
                  <a:avLst/>
                  <a:gdLst>
                    <a:gd name="connsiteX0" fmla="*/ 1427273 w 1443038"/>
                    <a:gd name="connsiteY0" fmla="*/ 1274762 h 1377949"/>
                    <a:gd name="connsiteX1" fmla="*/ 1443038 w 1443038"/>
                    <a:gd name="connsiteY1" fmla="*/ 1290527 h 1377949"/>
                    <a:gd name="connsiteX2" fmla="*/ 1443038 w 1443038"/>
                    <a:gd name="connsiteY2" fmla="*/ 1362184 h 1377949"/>
                    <a:gd name="connsiteX3" fmla="*/ 1427273 w 1443038"/>
                    <a:gd name="connsiteY3" fmla="*/ 1377949 h 1377949"/>
                    <a:gd name="connsiteX4" fmla="*/ 1355615 w 1443038"/>
                    <a:gd name="connsiteY4" fmla="*/ 1377949 h 1377949"/>
                    <a:gd name="connsiteX5" fmla="*/ 1339850 w 1443038"/>
                    <a:gd name="connsiteY5" fmla="*/ 1362184 h 1377949"/>
                    <a:gd name="connsiteX6" fmla="*/ 1355615 w 1443038"/>
                    <a:gd name="connsiteY6" fmla="*/ 1346420 h 1377949"/>
                    <a:gd name="connsiteX7" fmla="*/ 1411509 w 1443038"/>
                    <a:gd name="connsiteY7" fmla="*/ 1346420 h 1377949"/>
                    <a:gd name="connsiteX8" fmla="*/ 1411509 w 1443038"/>
                    <a:gd name="connsiteY8" fmla="*/ 1290527 h 1377949"/>
                    <a:gd name="connsiteX9" fmla="*/ 1427273 w 1443038"/>
                    <a:gd name="connsiteY9" fmla="*/ 1274762 h 1377949"/>
                    <a:gd name="connsiteX10" fmla="*/ 15765 w 1443038"/>
                    <a:gd name="connsiteY10" fmla="*/ 1274762 h 1377949"/>
                    <a:gd name="connsiteX11" fmla="*/ 31529 w 1443038"/>
                    <a:gd name="connsiteY11" fmla="*/ 1290527 h 1377949"/>
                    <a:gd name="connsiteX12" fmla="*/ 31529 w 1443038"/>
                    <a:gd name="connsiteY12" fmla="*/ 1346420 h 1377949"/>
                    <a:gd name="connsiteX13" fmla="*/ 87423 w 1443038"/>
                    <a:gd name="connsiteY13" fmla="*/ 1346420 h 1377949"/>
                    <a:gd name="connsiteX14" fmla="*/ 103188 w 1443038"/>
                    <a:gd name="connsiteY14" fmla="*/ 1362184 h 1377949"/>
                    <a:gd name="connsiteX15" fmla="*/ 87423 w 1443038"/>
                    <a:gd name="connsiteY15" fmla="*/ 1377949 h 1377949"/>
                    <a:gd name="connsiteX16" fmla="*/ 15765 w 1443038"/>
                    <a:gd name="connsiteY16" fmla="*/ 1377949 h 1377949"/>
                    <a:gd name="connsiteX17" fmla="*/ 0 w 1443038"/>
                    <a:gd name="connsiteY17" fmla="*/ 1362184 h 1377949"/>
                    <a:gd name="connsiteX18" fmla="*/ 0 w 1443038"/>
                    <a:gd name="connsiteY18" fmla="*/ 1290527 h 1377949"/>
                    <a:gd name="connsiteX19" fmla="*/ 15765 w 1443038"/>
                    <a:gd name="connsiteY19" fmla="*/ 1274762 h 1377949"/>
                    <a:gd name="connsiteX20" fmla="*/ 502474 w 1443038"/>
                    <a:gd name="connsiteY20" fmla="*/ 969962 h 1377949"/>
                    <a:gd name="connsiteX21" fmla="*/ 513894 w 1443038"/>
                    <a:gd name="connsiteY21" fmla="*/ 969962 h 1377949"/>
                    <a:gd name="connsiteX22" fmla="*/ 533880 w 1443038"/>
                    <a:gd name="connsiteY22" fmla="*/ 986406 h 1377949"/>
                    <a:gd name="connsiteX23" fmla="*/ 544586 w 1443038"/>
                    <a:gd name="connsiteY23" fmla="*/ 994985 h 1377949"/>
                    <a:gd name="connsiteX24" fmla="*/ 718030 w 1443038"/>
                    <a:gd name="connsiteY24" fmla="*/ 1137261 h 1377949"/>
                    <a:gd name="connsiteX25" fmla="*/ 726595 w 1443038"/>
                    <a:gd name="connsiteY25" fmla="*/ 1136546 h 1377949"/>
                    <a:gd name="connsiteX26" fmla="*/ 900038 w 1443038"/>
                    <a:gd name="connsiteY26" fmla="*/ 994985 h 1377949"/>
                    <a:gd name="connsiteX27" fmla="*/ 910745 w 1443038"/>
                    <a:gd name="connsiteY27" fmla="*/ 986406 h 1377949"/>
                    <a:gd name="connsiteX28" fmla="*/ 930730 w 1443038"/>
                    <a:gd name="connsiteY28" fmla="*/ 969962 h 1377949"/>
                    <a:gd name="connsiteX29" fmla="*/ 942150 w 1443038"/>
                    <a:gd name="connsiteY29" fmla="*/ 969962 h 1377949"/>
                    <a:gd name="connsiteX30" fmla="*/ 1207669 w 1443038"/>
                    <a:gd name="connsiteY30" fmla="*/ 1017149 h 1377949"/>
                    <a:gd name="connsiteX31" fmla="*/ 1363268 w 1443038"/>
                    <a:gd name="connsiteY31" fmla="*/ 1243789 h 1377949"/>
                    <a:gd name="connsiteX32" fmla="*/ 1348279 w 1443038"/>
                    <a:gd name="connsiteY32" fmla="*/ 1265237 h 1377949"/>
                    <a:gd name="connsiteX33" fmla="*/ 96345 w 1443038"/>
                    <a:gd name="connsiteY33" fmla="*/ 1265237 h 1377949"/>
                    <a:gd name="connsiteX34" fmla="*/ 81356 w 1443038"/>
                    <a:gd name="connsiteY34" fmla="*/ 1243789 h 1377949"/>
                    <a:gd name="connsiteX35" fmla="*/ 236956 w 1443038"/>
                    <a:gd name="connsiteY35" fmla="*/ 1017149 h 1377949"/>
                    <a:gd name="connsiteX36" fmla="*/ 502474 w 1443038"/>
                    <a:gd name="connsiteY36" fmla="*/ 969962 h 1377949"/>
                    <a:gd name="connsiteX37" fmla="*/ 461962 w 1443038"/>
                    <a:gd name="connsiteY37" fmla="*/ 736600 h 1377949"/>
                    <a:gd name="connsiteX38" fmla="*/ 496284 w 1443038"/>
                    <a:gd name="connsiteY38" fmla="*/ 736600 h 1377949"/>
                    <a:gd name="connsiteX39" fmla="*/ 559922 w 1443038"/>
                    <a:gd name="connsiteY39" fmla="*/ 858347 h 1377949"/>
                    <a:gd name="connsiteX40" fmla="*/ 567072 w 1443038"/>
                    <a:gd name="connsiteY40" fmla="*/ 864043 h 1377949"/>
                    <a:gd name="connsiteX41" fmla="*/ 595673 w 1443038"/>
                    <a:gd name="connsiteY41" fmla="*/ 885402 h 1377949"/>
                    <a:gd name="connsiteX42" fmla="*/ 721519 w 1443038"/>
                    <a:gd name="connsiteY42" fmla="*/ 938800 h 1377949"/>
                    <a:gd name="connsiteX43" fmla="*/ 847364 w 1443038"/>
                    <a:gd name="connsiteY43" fmla="*/ 885402 h 1377949"/>
                    <a:gd name="connsiteX44" fmla="*/ 875966 w 1443038"/>
                    <a:gd name="connsiteY44" fmla="*/ 864043 h 1377949"/>
                    <a:gd name="connsiteX45" fmla="*/ 883116 w 1443038"/>
                    <a:gd name="connsiteY45" fmla="*/ 858347 h 1377949"/>
                    <a:gd name="connsiteX46" fmla="*/ 946754 w 1443038"/>
                    <a:gd name="connsiteY46" fmla="*/ 736600 h 1377949"/>
                    <a:gd name="connsiteX47" fmla="*/ 981075 w 1443038"/>
                    <a:gd name="connsiteY47" fmla="*/ 736600 h 1377949"/>
                    <a:gd name="connsiteX48" fmla="*/ 918152 w 1443038"/>
                    <a:gd name="connsiteY48" fmla="*/ 864043 h 1377949"/>
                    <a:gd name="connsiteX49" fmla="*/ 910287 w 1443038"/>
                    <a:gd name="connsiteY49" fmla="*/ 874722 h 1377949"/>
                    <a:gd name="connsiteX50" fmla="*/ 910287 w 1443038"/>
                    <a:gd name="connsiteY50" fmla="*/ 916728 h 1377949"/>
                    <a:gd name="connsiteX51" fmla="*/ 910287 w 1443038"/>
                    <a:gd name="connsiteY51" fmla="*/ 945919 h 1377949"/>
                    <a:gd name="connsiteX52" fmla="*/ 878826 w 1443038"/>
                    <a:gd name="connsiteY52" fmla="*/ 971550 h 1377949"/>
                    <a:gd name="connsiteX53" fmla="*/ 878826 w 1443038"/>
                    <a:gd name="connsiteY53" fmla="*/ 939511 h 1377949"/>
                    <a:gd name="connsiteX54" fmla="*/ 878826 w 1443038"/>
                    <a:gd name="connsiteY54" fmla="*/ 901065 h 1377949"/>
                    <a:gd name="connsiteX55" fmla="*/ 847364 w 1443038"/>
                    <a:gd name="connsiteY55" fmla="*/ 922424 h 1377949"/>
                    <a:gd name="connsiteX56" fmla="*/ 721519 w 1443038"/>
                    <a:gd name="connsiteY56" fmla="*/ 970126 h 1377949"/>
                    <a:gd name="connsiteX57" fmla="*/ 595673 w 1443038"/>
                    <a:gd name="connsiteY57" fmla="*/ 922424 h 1377949"/>
                    <a:gd name="connsiteX58" fmla="*/ 564212 w 1443038"/>
                    <a:gd name="connsiteY58" fmla="*/ 901065 h 1377949"/>
                    <a:gd name="connsiteX59" fmla="*/ 564212 w 1443038"/>
                    <a:gd name="connsiteY59" fmla="*/ 939511 h 1377949"/>
                    <a:gd name="connsiteX60" fmla="*/ 564212 w 1443038"/>
                    <a:gd name="connsiteY60" fmla="*/ 971550 h 1377949"/>
                    <a:gd name="connsiteX61" fmla="*/ 532750 w 1443038"/>
                    <a:gd name="connsiteY61" fmla="*/ 945919 h 1377949"/>
                    <a:gd name="connsiteX62" fmla="*/ 532750 w 1443038"/>
                    <a:gd name="connsiteY62" fmla="*/ 916728 h 1377949"/>
                    <a:gd name="connsiteX63" fmla="*/ 532750 w 1443038"/>
                    <a:gd name="connsiteY63" fmla="*/ 874722 h 1377949"/>
                    <a:gd name="connsiteX64" fmla="*/ 524885 w 1443038"/>
                    <a:gd name="connsiteY64" fmla="*/ 864043 h 1377949"/>
                    <a:gd name="connsiteX65" fmla="*/ 461962 w 1443038"/>
                    <a:gd name="connsiteY65" fmla="*/ 736600 h 1377949"/>
                    <a:gd name="connsiteX66" fmla="*/ 195101 w 1443038"/>
                    <a:gd name="connsiteY66" fmla="*/ 673100 h 1377949"/>
                    <a:gd name="connsiteX67" fmla="*/ 396526 w 1443038"/>
                    <a:gd name="connsiteY67" fmla="*/ 673100 h 1377949"/>
                    <a:gd name="connsiteX68" fmla="*/ 435810 w 1443038"/>
                    <a:gd name="connsiteY68" fmla="*/ 673100 h 1377949"/>
                    <a:gd name="connsiteX69" fmla="*/ 470095 w 1443038"/>
                    <a:gd name="connsiteY69" fmla="*/ 673100 h 1377949"/>
                    <a:gd name="connsiteX70" fmla="*/ 503666 w 1443038"/>
                    <a:gd name="connsiteY70" fmla="*/ 673100 h 1377949"/>
                    <a:gd name="connsiteX71" fmla="*/ 679377 w 1443038"/>
                    <a:gd name="connsiteY71" fmla="*/ 673100 h 1377949"/>
                    <a:gd name="connsiteX72" fmla="*/ 715090 w 1443038"/>
                    <a:gd name="connsiteY72" fmla="*/ 673100 h 1377949"/>
                    <a:gd name="connsiteX73" fmla="*/ 760804 w 1443038"/>
                    <a:gd name="connsiteY73" fmla="*/ 673100 h 1377949"/>
                    <a:gd name="connsiteX74" fmla="*/ 795803 w 1443038"/>
                    <a:gd name="connsiteY74" fmla="*/ 673100 h 1377949"/>
                    <a:gd name="connsiteX75" fmla="*/ 939371 w 1443038"/>
                    <a:gd name="connsiteY75" fmla="*/ 673100 h 1377949"/>
                    <a:gd name="connsiteX76" fmla="*/ 972942 w 1443038"/>
                    <a:gd name="connsiteY76" fmla="*/ 673100 h 1377949"/>
                    <a:gd name="connsiteX77" fmla="*/ 1007227 w 1443038"/>
                    <a:gd name="connsiteY77" fmla="*/ 673100 h 1377949"/>
                    <a:gd name="connsiteX78" fmla="*/ 1046512 w 1443038"/>
                    <a:gd name="connsiteY78" fmla="*/ 673100 h 1377949"/>
                    <a:gd name="connsiteX79" fmla="*/ 1247936 w 1443038"/>
                    <a:gd name="connsiteY79" fmla="*/ 673100 h 1377949"/>
                    <a:gd name="connsiteX80" fmla="*/ 1263650 w 1443038"/>
                    <a:gd name="connsiteY80" fmla="*/ 688975 h 1377949"/>
                    <a:gd name="connsiteX81" fmla="*/ 1247936 w 1443038"/>
                    <a:gd name="connsiteY81" fmla="*/ 704850 h 1377949"/>
                    <a:gd name="connsiteX82" fmla="*/ 1027941 w 1443038"/>
                    <a:gd name="connsiteY82" fmla="*/ 704850 h 1377949"/>
                    <a:gd name="connsiteX83" fmla="*/ 994370 w 1443038"/>
                    <a:gd name="connsiteY83" fmla="*/ 704850 h 1377949"/>
                    <a:gd name="connsiteX84" fmla="*/ 960085 w 1443038"/>
                    <a:gd name="connsiteY84" fmla="*/ 704850 h 1377949"/>
                    <a:gd name="connsiteX85" fmla="*/ 925800 w 1443038"/>
                    <a:gd name="connsiteY85" fmla="*/ 704850 h 1377949"/>
                    <a:gd name="connsiteX86" fmla="*/ 770089 w 1443038"/>
                    <a:gd name="connsiteY86" fmla="*/ 704850 h 1377949"/>
                    <a:gd name="connsiteX87" fmla="*/ 705805 w 1443038"/>
                    <a:gd name="connsiteY87" fmla="*/ 704850 h 1377949"/>
                    <a:gd name="connsiteX88" fmla="*/ 517237 w 1443038"/>
                    <a:gd name="connsiteY88" fmla="*/ 704850 h 1377949"/>
                    <a:gd name="connsiteX89" fmla="*/ 482952 w 1443038"/>
                    <a:gd name="connsiteY89" fmla="*/ 704850 h 1377949"/>
                    <a:gd name="connsiteX90" fmla="*/ 448667 w 1443038"/>
                    <a:gd name="connsiteY90" fmla="*/ 704850 h 1377949"/>
                    <a:gd name="connsiteX91" fmla="*/ 415097 w 1443038"/>
                    <a:gd name="connsiteY91" fmla="*/ 704850 h 1377949"/>
                    <a:gd name="connsiteX92" fmla="*/ 195101 w 1443038"/>
                    <a:gd name="connsiteY92" fmla="*/ 704850 h 1377949"/>
                    <a:gd name="connsiteX93" fmla="*/ 179387 w 1443038"/>
                    <a:gd name="connsiteY93" fmla="*/ 688975 h 1377949"/>
                    <a:gd name="connsiteX94" fmla="*/ 195101 w 1443038"/>
                    <a:gd name="connsiteY94" fmla="*/ 673100 h 1377949"/>
                    <a:gd name="connsiteX95" fmla="*/ 1062037 w 1443038"/>
                    <a:gd name="connsiteY95" fmla="*/ 579437 h 1377949"/>
                    <a:gd name="connsiteX96" fmla="*/ 1062037 w 1443038"/>
                    <a:gd name="connsiteY96" fmla="*/ 581548 h 1377949"/>
                    <a:gd name="connsiteX97" fmla="*/ 1034263 w 1443038"/>
                    <a:gd name="connsiteY97" fmla="*/ 641349 h 1377949"/>
                    <a:gd name="connsiteX98" fmla="*/ 985837 w 1443038"/>
                    <a:gd name="connsiteY98" fmla="*/ 641349 h 1377949"/>
                    <a:gd name="connsiteX99" fmla="*/ 992959 w 1443038"/>
                    <a:gd name="connsiteY99" fmla="*/ 633610 h 1377949"/>
                    <a:gd name="connsiteX100" fmla="*/ 1025718 w 1443038"/>
                    <a:gd name="connsiteY100" fmla="*/ 596322 h 1377949"/>
                    <a:gd name="connsiteX101" fmla="*/ 1062037 w 1443038"/>
                    <a:gd name="connsiteY101" fmla="*/ 579437 h 1377949"/>
                    <a:gd name="connsiteX102" fmla="*/ 381000 w 1443038"/>
                    <a:gd name="connsiteY102" fmla="*/ 579437 h 1377949"/>
                    <a:gd name="connsiteX103" fmla="*/ 417320 w 1443038"/>
                    <a:gd name="connsiteY103" fmla="*/ 596322 h 1377949"/>
                    <a:gd name="connsiteX104" fmla="*/ 450079 w 1443038"/>
                    <a:gd name="connsiteY104" fmla="*/ 633610 h 1377949"/>
                    <a:gd name="connsiteX105" fmla="*/ 457200 w 1443038"/>
                    <a:gd name="connsiteY105" fmla="*/ 641349 h 1377949"/>
                    <a:gd name="connsiteX106" fmla="*/ 408774 w 1443038"/>
                    <a:gd name="connsiteY106" fmla="*/ 641349 h 1377949"/>
                    <a:gd name="connsiteX107" fmla="*/ 381000 w 1443038"/>
                    <a:gd name="connsiteY107" fmla="*/ 582955 h 1377949"/>
                    <a:gd name="connsiteX108" fmla="*/ 381000 w 1443038"/>
                    <a:gd name="connsiteY108" fmla="*/ 579437 h 1377949"/>
                    <a:gd name="connsiteX109" fmla="*/ 1355615 w 1443038"/>
                    <a:gd name="connsiteY109" fmla="*/ 0 h 1377949"/>
                    <a:gd name="connsiteX110" fmla="*/ 1427273 w 1443038"/>
                    <a:gd name="connsiteY110" fmla="*/ 0 h 1377949"/>
                    <a:gd name="connsiteX111" fmla="*/ 1443038 w 1443038"/>
                    <a:gd name="connsiteY111" fmla="*/ 15765 h 1377949"/>
                    <a:gd name="connsiteX112" fmla="*/ 1443038 w 1443038"/>
                    <a:gd name="connsiteY112" fmla="*/ 87422 h 1377949"/>
                    <a:gd name="connsiteX113" fmla="*/ 1427273 w 1443038"/>
                    <a:gd name="connsiteY113" fmla="*/ 103187 h 1377949"/>
                    <a:gd name="connsiteX114" fmla="*/ 1411509 w 1443038"/>
                    <a:gd name="connsiteY114" fmla="*/ 87422 h 1377949"/>
                    <a:gd name="connsiteX115" fmla="*/ 1411509 w 1443038"/>
                    <a:gd name="connsiteY115" fmla="*/ 31529 h 1377949"/>
                    <a:gd name="connsiteX116" fmla="*/ 1355615 w 1443038"/>
                    <a:gd name="connsiteY116" fmla="*/ 31529 h 1377949"/>
                    <a:gd name="connsiteX117" fmla="*/ 1339850 w 1443038"/>
                    <a:gd name="connsiteY117" fmla="*/ 15765 h 1377949"/>
                    <a:gd name="connsiteX118" fmla="*/ 1355615 w 1443038"/>
                    <a:gd name="connsiteY118" fmla="*/ 0 h 1377949"/>
                    <a:gd name="connsiteX119" fmla="*/ 15765 w 1443038"/>
                    <a:gd name="connsiteY119" fmla="*/ 0 h 1377949"/>
                    <a:gd name="connsiteX120" fmla="*/ 87423 w 1443038"/>
                    <a:gd name="connsiteY120" fmla="*/ 0 h 1377949"/>
                    <a:gd name="connsiteX121" fmla="*/ 103188 w 1443038"/>
                    <a:gd name="connsiteY121" fmla="*/ 15765 h 1377949"/>
                    <a:gd name="connsiteX122" fmla="*/ 87423 w 1443038"/>
                    <a:gd name="connsiteY122" fmla="*/ 31529 h 1377949"/>
                    <a:gd name="connsiteX123" fmla="*/ 31529 w 1443038"/>
                    <a:gd name="connsiteY123" fmla="*/ 31529 h 1377949"/>
                    <a:gd name="connsiteX124" fmla="*/ 31529 w 1443038"/>
                    <a:gd name="connsiteY124" fmla="*/ 87422 h 1377949"/>
                    <a:gd name="connsiteX125" fmla="*/ 15765 w 1443038"/>
                    <a:gd name="connsiteY125" fmla="*/ 103187 h 1377949"/>
                    <a:gd name="connsiteX126" fmla="*/ 0 w 1443038"/>
                    <a:gd name="connsiteY126" fmla="*/ 87422 h 1377949"/>
                    <a:gd name="connsiteX127" fmla="*/ 0 w 1443038"/>
                    <a:gd name="connsiteY127" fmla="*/ 15765 h 1377949"/>
                    <a:gd name="connsiteX128" fmla="*/ 15765 w 1443038"/>
                    <a:gd name="connsiteY128" fmla="*/ 0 h 1377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1443038" h="1377949">
                      <a:moveTo>
                        <a:pt x="1427273" y="1274762"/>
                      </a:moveTo>
                      <a:cubicBezTo>
                        <a:pt x="1435872" y="1274762"/>
                        <a:pt x="1443038" y="1281928"/>
                        <a:pt x="1443038" y="1290527"/>
                      </a:cubicBezTo>
                      <a:cubicBezTo>
                        <a:pt x="1443038" y="1290527"/>
                        <a:pt x="1443038" y="1290527"/>
                        <a:pt x="1443038" y="1362184"/>
                      </a:cubicBezTo>
                      <a:cubicBezTo>
                        <a:pt x="1443038" y="1371500"/>
                        <a:pt x="1435872" y="1377949"/>
                        <a:pt x="1427273" y="1377949"/>
                      </a:cubicBezTo>
                      <a:cubicBezTo>
                        <a:pt x="1427273" y="1377949"/>
                        <a:pt x="1427273" y="1377949"/>
                        <a:pt x="1355615" y="1377949"/>
                      </a:cubicBezTo>
                      <a:cubicBezTo>
                        <a:pt x="1347016" y="1377949"/>
                        <a:pt x="1339850" y="1371500"/>
                        <a:pt x="1339850" y="1362184"/>
                      </a:cubicBezTo>
                      <a:cubicBezTo>
                        <a:pt x="1339850" y="1353586"/>
                        <a:pt x="1347016" y="1346420"/>
                        <a:pt x="1355615" y="1346420"/>
                      </a:cubicBezTo>
                      <a:cubicBezTo>
                        <a:pt x="1355615" y="1346420"/>
                        <a:pt x="1355615" y="1346420"/>
                        <a:pt x="1411509" y="1346420"/>
                      </a:cubicBezTo>
                      <a:cubicBezTo>
                        <a:pt x="1411509" y="1346420"/>
                        <a:pt x="1411509" y="1346420"/>
                        <a:pt x="1411509" y="1290527"/>
                      </a:cubicBezTo>
                      <a:cubicBezTo>
                        <a:pt x="1411509" y="1281928"/>
                        <a:pt x="1418674" y="1274762"/>
                        <a:pt x="1427273" y="1274762"/>
                      </a:cubicBezTo>
                      <a:close/>
                      <a:moveTo>
                        <a:pt x="15765" y="1274762"/>
                      </a:moveTo>
                      <a:cubicBezTo>
                        <a:pt x="24364" y="1274762"/>
                        <a:pt x="31529" y="1281928"/>
                        <a:pt x="31529" y="1290527"/>
                      </a:cubicBezTo>
                      <a:cubicBezTo>
                        <a:pt x="31529" y="1290527"/>
                        <a:pt x="31529" y="1290527"/>
                        <a:pt x="31529" y="1346420"/>
                      </a:cubicBezTo>
                      <a:cubicBezTo>
                        <a:pt x="31529" y="1346420"/>
                        <a:pt x="31529" y="1346420"/>
                        <a:pt x="87423" y="1346420"/>
                      </a:cubicBezTo>
                      <a:cubicBezTo>
                        <a:pt x="96022" y="1346420"/>
                        <a:pt x="103188" y="1353586"/>
                        <a:pt x="103188" y="1362184"/>
                      </a:cubicBezTo>
                      <a:cubicBezTo>
                        <a:pt x="103188" y="1371500"/>
                        <a:pt x="96022" y="1377949"/>
                        <a:pt x="87423" y="1377949"/>
                      </a:cubicBezTo>
                      <a:cubicBezTo>
                        <a:pt x="87423" y="1377949"/>
                        <a:pt x="87423" y="1377949"/>
                        <a:pt x="15765" y="1377949"/>
                      </a:cubicBezTo>
                      <a:cubicBezTo>
                        <a:pt x="7166" y="1377949"/>
                        <a:pt x="0" y="1371500"/>
                        <a:pt x="0" y="1362184"/>
                      </a:cubicBezTo>
                      <a:cubicBezTo>
                        <a:pt x="0" y="1362184"/>
                        <a:pt x="0" y="1362184"/>
                        <a:pt x="0" y="1290527"/>
                      </a:cubicBezTo>
                      <a:cubicBezTo>
                        <a:pt x="0" y="1281928"/>
                        <a:pt x="7166" y="1274762"/>
                        <a:pt x="15765" y="1274762"/>
                      </a:cubicBezTo>
                      <a:close/>
                      <a:moveTo>
                        <a:pt x="502474" y="969962"/>
                      </a:moveTo>
                      <a:cubicBezTo>
                        <a:pt x="509612" y="969962"/>
                        <a:pt x="513894" y="969962"/>
                        <a:pt x="513894" y="969962"/>
                      </a:cubicBezTo>
                      <a:cubicBezTo>
                        <a:pt x="513894" y="969962"/>
                        <a:pt x="521032" y="975682"/>
                        <a:pt x="533880" y="986406"/>
                      </a:cubicBezTo>
                      <a:cubicBezTo>
                        <a:pt x="537448" y="989266"/>
                        <a:pt x="541017" y="992126"/>
                        <a:pt x="544586" y="994985"/>
                      </a:cubicBezTo>
                      <a:cubicBezTo>
                        <a:pt x="588839" y="1032163"/>
                        <a:pt x="671635" y="1100083"/>
                        <a:pt x="718030" y="1137261"/>
                      </a:cubicBezTo>
                      <a:cubicBezTo>
                        <a:pt x="720885" y="1138691"/>
                        <a:pt x="724453" y="1138691"/>
                        <a:pt x="726595" y="1136546"/>
                      </a:cubicBezTo>
                      <a:cubicBezTo>
                        <a:pt x="787264" y="1087929"/>
                        <a:pt x="860068" y="1028588"/>
                        <a:pt x="900038" y="994985"/>
                      </a:cubicBezTo>
                      <a:cubicBezTo>
                        <a:pt x="903607" y="992126"/>
                        <a:pt x="907176" y="989266"/>
                        <a:pt x="910745" y="986406"/>
                      </a:cubicBezTo>
                      <a:cubicBezTo>
                        <a:pt x="923592" y="975682"/>
                        <a:pt x="930730" y="969962"/>
                        <a:pt x="930730" y="969962"/>
                      </a:cubicBezTo>
                      <a:cubicBezTo>
                        <a:pt x="930730" y="969962"/>
                        <a:pt x="935013" y="969962"/>
                        <a:pt x="942150" y="969962"/>
                      </a:cubicBezTo>
                      <a:cubicBezTo>
                        <a:pt x="982835" y="971392"/>
                        <a:pt x="1124873" y="978542"/>
                        <a:pt x="1207669" y="1017149"/>
                      </a:cubicBezTo>
                      <a:cubicBezTo>
                        <a:pt x="1286182" y="1052897"/>
                        <a:pt x="1343283" y="1190882"/>
                        <a:pt x="1363268" y="1243789"/>
                      </a:cubicBezTo>
                      <a:cubicBezTo>
                        <a:pt x="1366837" y="1253798"/>
                        <a:pt x="1359700" y="1265237"/>
                        <a:pt x="1348279" y="1265237"/>
                      </a:cubicBezTo>
                      <a:cubicBezTo>
                        <a:pt x="1348279" y="1265237"/>
                        <a:pt x="1348279" y="1265237"/>
                        <a:pt x="96345" y="1265237"/>
                      </a:cubicBezTo>
                      <a:cubicBezTo>
                        <a:pt x="84924" y="1265237"/>
                        <a:pt x="77787" y="1253798"/>
                        <a:pt x="81356" y="1243789"/>
                      </a:cubicBezTo>
                      <a:cubicBezTo>
                        <a:pt x="101341" y="1190882"/>
                        <a:pt x="158442" y="1052897"/>
                        <a:pt x="236956" y="1017149"/>
                      </a:cubicBezTo>
                      <a:cubicBezTo>
                        <a:pt x="319752" y="978542"/>
                        <a:pt x="461790" y="971392"/>
                        <a:pt x="502474" y="969962"/>
                      </a:cubicBezTo>
                      <a:close/>
                      <a:moveTo>
                        <a:pt x="461962" y="736600"/>
                      </a:moveTo>
                      <a:cubicBezTo>
                        <a:pt x="461962" y="736600"/>
                        <a:pt x="461962" y="736600"/>
                        <a:pt x="496284" y="736600"/>
                      </a:cubicBezTo>
                      <a:cubicBezTo>
                        <a:pt x="520595" y="792846"/>
                        <a:pt x="547051" y="846955"/>
                        <a:pt x="559922" y="858347"/>
                      </a:cubicBezTo>
                      <a:cubicBezTo>
                        <a:pt x="562067" y="860483"/>
                        <a:pt x="564927" y="861907"/>
                        <a:pt x="567072" y="864043"/>
                      </a:cubicBezTo>
                      <a:cubicBezTo>
                        <a:pt x="574937" y="870450"/>
                        <a:pt x="584948" y="877570"/>
                        <a:pt x="595673" y="885402"/>
                      </a:cubicBezTo>
                      <a:cubicBezTo>
                        <a:pt x="634285" y="911033"/>
                        <a:pt x="687912" y="938800"/>
                        <a:pt x="721519" y="938800"/>
                      </a:cubicBezTo>
                      <a:cubicBezTo>
                        <a:pt x="755125" y="938800"/>
                        <a:pt x="808753" y="911033"/>
                        <a:pt x="847364" y="885402"/>
                      </a:cubicBezTo>
                      <a:cubicBezTo>
                        <a:pt x="858090" y="877570"/>
                        <a:pt x="868100" y="870450"/>
                        <a:pt x="875966" y="864043"/>
                      </a:cubicBezTo>
                      <a:cubicBezTo>
                        <a:pt x="878111" y="861907"/>
                        <a:pt x="880971" y="860483"/>
                        <a:pt x="883116" y="858347"/>
                      </a:cubicBezTo>
                      <a:cubicBezTo>
                        <a:pt x="895986" y="846955"/>
                        <a:pt x="922443" y="792846"/>
                        <a:pt x="946754" y="736600"/>
                      </a:cubicBezTo>
                      <a:cubicBezTo>
                        <a:pt x="946754" y="736600"/>
                        <a:pt x="946754" y="736600"/>
                        <a:pt x="981075" y="736600"/>
                      </a:cubicBezTo>
                      <a:cubicBezTo>
                        <a:pt x="961769" y="782878"/>
                        <a:pt x="936743" y="835564"/>
                        <a:pt x="918152" y="864043"/>
                      </a:cubicBezTo>
                      <a:cubicBezTo>
                        <a:pt x="915292" y="868315"/>
                        <a:pt x="912432" y="871874"/>
                        <a:pt x="910287" y="874722"/>
                      </a:cubicBezTo>
                      <a:cubicBezTo>
                        <a:pt x="910287" y="874722"/>
                        <a:pt x="910287" y="874722"/>
                        <a:pt x="910287" y="916728"/>
                      </a:cubicBezTo>
                      <a:cubicBezTo>
                        <a:pt x="910287" y="916728"/>
                        <a:pt x="910287" y="916728"/>
                        <a:pt x="910287" y="945919"/>
                      </a:cubicBezTo>
                      <a:cubicBezTo>
                        <a:pt x="908142" y="947343"/>
                        <a:pt x="896701" y="957311"/>
                        <a:pt x="878826" y="971550"/>
                      </a:cubicBezTo>
                      <a:lnTo>
                        <a:pt x="878826" y="939511"/>
                      </a:lnTo>
                      <a:cubicBezTo>
                        <a:pt x="878826" y="939511"/>
                        <a:pt x="878826" y="939511"/>
                        <a:pt x="878826" y="901065"/>
                      </a:cubicBezTo>
                      <a:cubicBezTo>
                        <a:pt x="869530" y="908185"/>
                        <a:pt x="858805" y="915305"/>
                        <a:pt x="847364" y="922424"/>
                      </a:cubicBezTo>
                      <a:cubicBezTo>
                        <a:pt x="807323" y="946631"/>
                        <a:pt x="757985" y="970126"/>
                        <a:pt x="721519" y="970126"/>
                      </a:cubicBezTo>
                      <a:cubicBezTo>
                        <a:pt x="685052" y="970126"/>
                        <a:pt x="635715" y="946631"/>
                        <a:pt x="595673" y="922424"/>
                      </a:cubicBezTo>
                      <a:cubicBezTo>
                        <a:pt x="584233" y="915305"/>
                        <a:pt x="573507" y="908185"/>
                        <a:pt x="564212" y="901065"/>
                      </a:cubicBezTo>
                      <a:cubicBezTo>
                        <a:pt x="564212" y="901065"/>
                        <a:pt x="564212" y="901065"/>
                        <a:pt x="564212" y="939511"/>
                      </a:cubicBezTo>
                      <a:cubicBezTo>
                        <a:pt x="564212" y="939511"/>
                        <a:pt x="564212" y="939511"/>
                        <a:pt x="564212" y="971550"/>
                      </a:cubicBezTo>
                      <a:cubicBezTo>
                        <a:pt x="547051" y="957311"/>
                        <a:pt x="534895" y="947343"/>
                        <a:pt x="532750" y="945919"/>
                      </a:cubicBezTo>
                      <a:cubicBezTo>
                        <a:pt x="532750" y="945919"/>
                        <a:pt x="532750" y="945919"/>
                        <a:pt x="532750" y="916728"/>
                      </a:cubicBezTo>
                      <a:cubicBezTo>
                        <a:pt x="532750" y="916728"/>
                        <a:pt x="532750" y="916728"/>
                        <a:pt x="532750" y="874722"/>
                      </a:cubicBezTo>
                      <a:cubicBezTo>
                        <a:pt x="530605" y="871874"/>
                        <a:pt x="527745" y="868315"/>
                        <a:pt x="524885" y="864043"/>
                      </a:cubicBezTo>
                      <a:cubicBezTo>
                        <a:pt x="506294" y="835564"/>
                        <a:pt x="481268" y="782878"/>
                        <a:pt x="461962" y="736600"/>
                      </a:cubicBezTo>
                      <a:close/>
                      <a:moveTo>
                        <a:pt x="195101" y="673100"/>
                      </a:moveTo>
                      <a:cubicBezTo>
                        <a:pt x="195101" y="673100"/>
                        <a:pt x="195101" y="673100"/>
                        <a:pt x="396526" y="673100"/>
                      </a:cubicBezTo>
                      <a:cubicBezTo>
                        <a:pt x="396526" y="673100"/>
                        <a:pt x="396526" y="673100"/>
                        <a:pt x="435810" y="673100"/>
                      </a:cubicBezTo>
                      <a:cubicBezTo>
                        <a:pt x="435810" y="673100"/>
                        <a:pt x="435810" y="673100"/>
                        <a:pt x="470095" y="673100"/>
                      </a:cubicBezTo>
                      <a:cubicBezTo>
                        <a:pt x="470095" y="673100"/>
                        <a:pt x="470095" y="673100"/>
                        <a:pt x="503666" y="673100"/>
                      </a:cubicBezTo>
                      <a:cubicBezTo>
                        <a:pt x="503666" y="673100"/>
                        <a:pt x="503666" y="673100"/>
                        <a:pt x="679377" y="673100"/>
                      </a:cubicBezTo>
                      <a:cubicBezTo>
                        <a:pt x="679377" y="673100"/>
                        <a:pt x="679377" y="673100"/>
                        <a:pt x="715090" y="673100"/>
                      </a:cubicBezTo>
                      <a:cubicBezTo>
                        <a:pt x="715090" y="673100"/>
                        <a:pt x="715090" y="673100"/>
                        <a:pt x="760804" y="673100"/>
                      </a:cubicBezTo>
                      <a:cubicBezTo>
                        <a:pt x="760804" y="673100"/>
                        <a:pt x="760804" y="673100"/>
                        <a:pt x="795803" y="673100"/>
                      </a:cubicBezTo>
                      <a:cubicBezTo>
                        <a:pt x="795803" y="673100"/>
                        <a:pt x="795803" y="673100"/>
                        <a:pt x="939371" y="673100"/>
                      </a:cubicBezTo>
                      <a:cubicBezTo>
                        <a:pt x="939371" y="673100"/>
                        <a:pt x="939371" y="673100"/>
                        <a:pt x="972942" y="673100"/>
                      </a:cubicBezTo>
                      <a:cubicBezTo>
                        <a:pt x="972942" y="673100"/>
                        <a:pt x="972942" y="673100"/>
                        <a:pt x="1007227" y="673100"/>
                      </a:cubicBezTo>
                      <a:cubicBezTo>
                        <a:pt x="1007227" y="673100"/>
                        <a:pt x="1007227" y="673100"/>
                        <a:pt x="1046512" y="673100"/>
                      </a:cubicBezTo>
                      <a:cubicBezTo>
                        <a:pt x="1046512" y="673100"/>
                        <a:pt x="1046512" y="673100"/>
                        <a:pt x="1247936" y="673100"/>
                      </a:cubicBezTo>
                      <a:cubicBezTo>
                        <a:pt x="1256507" y="673100"/>
                        <a:pt x="1263650" y="680316"/>
                        <a:pt x="1263650" y="688975"/>
                      </a:cubicBezTo>
                      <a:cubicBezTo>
                        <a:pt x="1263650" y="697634"/>
                        <a:pt x="1256507" y="704850"/>
                        <a:pt x="1247936" y="704850"/>
                      </a:cubicBezTo>
                      <a:cubicBezTo>
                        <a:pt x="1247936" y="704850"/>
                        <a:pt x="1247936" y="704850"/>
                        <a:pt x="1027941" y="704850"/>
                      </a:cubicBezTo>
                      <a:cubicBezTo>
                        <a:pt x="1027941" y="704850"/>
                        <a:pt x="1027941" y="704850"/>
                        <a:pt x="994370" y="704850"/>
                      </a:cubicBezTo>
                      <a:cubicBezTo>
                        <a:pt x="994370" y="704850"/>
                        <a:pt x="994370" y="704850"/>
                        <a:pt x="960085" y="704850"/>
                      </a:cubicBezTo>
                      <a:cubicBezTo>
                        <a:pt x="960085" y="704850"/>
                        <a:pt x="960085" y="704850"/>
                        <a:pt x="925800" y="704850"/>
                      </a:cubicBezTo>
                      <a:cubicBezTo>
                        <a:pt x="925800" y="704850"/>
                        <a:pt x="925800" y="704850"/>
                        <a:pt x="770089" y="704850"/>
                      </a:cubicBezTo>
                      <a:cubicBezTo>
                        <a:pt x="770089" y="704850"/>
                        <a:pt x="770089" y="704850"/>
                        <a:pt x="705805" y="704850"/>
                      </a:cubicBezTo>
                      <a:cubicBezTo>
                        <a:pt x="705805" y="704850"/>
                        <a:pt x="705805" y="704850"/>
                        <a:pt x="517237" y="704850"/>
                      </a:cubicBezTo>
                      <a:cubicBezTo>
                        <a:pt x="517237" y="704850"/>
                        <a:pt x="517237" y="704850"/>
                        <a:pt x="482952" y="704850"/>
                      </a:cubicBezTo>
                      <a:cubicBezTo>
                        <a:pt x="482952" y="704850"/>
                        <a:pt x="482952" y="704850"/>
                        <a:pt x="448667" y="704850"/>
                      </a:cubicBezTo>
                      <a:cubicBezTo>
                        <a:pt x="448667" y="704850"/>
                        <a:pt x="448667" y="704850"/>
                        <a:pt x="415097" y="704850"/>
                      </a:cubicBezTo>
                      <a:cubicBezTo>
                        <a:pt x="415097" y="704850"/>
                        <a:pt x="415097" y="704850"/>
                        <a:pt x="195101" y="704850"/>
                      </a:cubicBezTo>
                      <a:cubicBezTo>
                        <a:pt x="186530" y="704850"/>
                        <a:pt x="179387" y="697634"/>
                        <a:pt x="179387" y="688975"/>
                      </a:cubicBezTo>
                      <a:cubicBezTo>
                        <a:pt x="179387" y="680316"/>
                        <a:pt x="186530" y="673100"/>
                        <a:pt x="195101" y="673100"/>
                      </a:cubicBezTo>
                      <a:close/>
                      <a:moveTo>
                        <a:pt x="1062037" y="579437"/>
                      </a:moveTo>
                      <a:cubicBezTo>
                        <a:pt x="1062037" y="580140"/>
                        <a:pt x="1062037" y="580844"/>
                        <a:pt x="1062037" y="581548"/>
                      </a:cubicBezTo>
                      <a:cubicBezTo>
                        <a:pt x="1059901" y="594211"/>
                        <a:pt x="1054204" y="620243"/>
                        <a:pt x="1034263" y="641349"/>
                      </a:cubicBezTo>
                      <a:cubicBezTo>
                        <a:pt x="1034263" y="641349"/>
                        <a:pt x="1034263" y="641349"/>
                        <a:pt x="985837" y="641349"/>
                      </a:cubicBezTo>
                      <a:cubicBezTo>
                        <a:pt x="987262" y="637831"/>
                        <a:pt x="990110" y="635721"/>
                        <a:pt x="992959" y="633610"/>
                      </a:cubicBezTo>
                      <a:cubicBezTo>
                        <a:pt x="1010762" y="625167"/>
                        <a:pt x="1020733" y="609689"/>
                        <a:pt x="1025718" y="596322"/>
                      </a:cubicBezTo>
                      <a:cubicBezTo>
                        <a:pt x="1025718" y="596322"/>
                        <a:pt x="1025718" y="596322"/>
                        <a:pt x="1062037" y="579437"/>
                      </a:cubicBezTo>
                      <a:close/>
                      <a:moveTo>
                        <a:pt x="381000" y="579437"/>
                      </a:moveTo>
                      <a:cubicBezTo>
                        <a:pt x="381000" y="579437"/>
                        <a:pt x="381000" y="579437"/>
                        <a:pt x="417320" y="596322"/>
                      </a:cubicBezTo>
                      <a:cubicBezTo>
                        <a:pt x="422305" y="609689"/>
                        <a:pt x="432275" y="625167"/>
                        <a:pt x="450079" y="633610"/>
                      </a:cubicBezTo>
                      <a:cubicBezTo>
                        <a:pt x="452927" y="635721"/>
                        <a:pt x="455776" y="637831"/>
                        <a:pt x="457200" y="641349"/>
                      </a:cubicBezTo>
                      <a:cubicBezTo>
                        <a:pt x="457200" y="641349"/>
                        <a:pt x="457200" y="641349"/>
                        <a:pt x="408774" y="641349"/>
                      </a:cubicBezTo>
                      <a:cubicBezTo>
                        <a:pt x="390258" y="621650"/>
                        <a:pt x="383849" y="597729"/>
                        <a:pt x="381000" y="582955"/>
                      </a:cubicBezTo>
                      <a:cubicBezTo>
                        <a:pt x="381000" y="582251"/>
                        <a:pt x="381000" y="580844"/>
                        <a:pt x="381000" y="579437"/>
                      </a:cubicBezTo>
                      <a:close/>
                      <a:moveTo>
                        <a:pt x="1355615" y="0"/>
                      </a:moveTo>
                      <a:cubicBezTo>
                        <a:pt x="1355615" y="0"/>
                        <a:pt x="1355615" y="0"/>
                        <a:pt x="1427273" y="0"/>
                      </a:cubicBezTo>
                      <a:cubicBezTo>
                        <a:pt x="1435872" y="0"/>
                        <a:pt x="1443038" y="6449"/>
                        <a:pt x="1443038" y="15765"/>
                      </a:cubicBezTo>
                      <a:cubicBezTo>
                        <a:pt x="1443038" y="15765"/>
                        <a:pt x="1443038" y="15765"/>
                        <a:pt x="1443038" y="87422"/>
                      </a:cubicBezTo>
                      <a:cubicBezTo>
                        <a:pt x="1443038" y="96021"/>
                        <a:pt x="1435872" y="103187"/>
                        <a:pt x="1427273" y="103187"/>
                      </a:cubicBezTo>
                      <a:cubicBezTo>
                        <a:pt x="1418674" y="103187"/>
                        <a:pt x="1411509" y="96021"/>
                        <a:pt x="1411509" y="87422"/>
                      </a:cubicBezTo>
                      <a:cubicBezTo>
                        <a:pt x="1411509" y="87422"/>
                        <a:pt x="1411509" y="87422"/>
                        <a:pt x="1411509" y="31529"/>
                      </a:cubicBezTo>
                      <a:cubicBezTo>
                        <a:pt x="1411509" y="31529"/>
                        <a:pt x="1411509" y="31529"/>
                        <a:pt x="1355615" y="31529"/>
                      </a:cubicBezTo>
                      <a:cubicBezTo>
                        <a:pt x="1347016" y="31529"/>
                        <a:pt x="1339850" y="24363"/>
                        <a:pt x="1339850" y="15765"/>
                      </a:cubicBezTo>
                      <a:cubicBezTo>
                        <a:pt x="1339850" y="6449"/>
                        <a:pt x="1347016" y="0"/>
                        <a:pt x="1355615" y="0"/>
                      </a:cubicBezTo>
                      <a:close/>
                      <a:moveTo>
                        <a:pt x="15765" y="0"/>
                      </a:moveTo>
                      <a:cubicBezTo>
                        <a:pt x="15765" y="0"/>
                        <a:pt x="15765" y="0"/>
                        <a:pt x="87423" y="0"/>
                      </a:cubicBezTo>
                      <a:cubicBezTo>
                        <a:pt x="96022" y="0"/>
                        <a:pt x="103188" y="6449"/>
                        <a:pt x="103188" y="15765"/>
                      </a:cubicBezTo>
                      <a:cubicBezTo>
                        <a:pt x="103188" y="24363"/>
                        <a:pt x="96022" y="31529"/>
                        <a:pt x="87423" y="31529"/>
                      </a:cubicBezTo>
                      <a:cubicBezTo>
                        <a:pt x="87423" y="31529"/>
                        <a:pt x="87423" y="31529"/>
                        <a:pt x="31529" y="31529"/>
                      </a:cubicBezTo>
                      <a:cubicBezTo>
                        <a:pt x="31529" y="31529"/>
                        <a:pt x="31529" y="31529"/>
                        <a:pt x="31529" y="87422"/>
                      </a:cubicBezTo>
                      <a:cubicBezTo>
                        <a:pt x="31529" y="96021"/>
                        <a:pt x="24364" y="103187"/>
                        <a:pt x="15765" y="103187"/>
                      </a:cubicBezTo>
                      <a:cubicBezTo>
                        <a:pt x="7166" y="103187"/>
                        <a:pt x="0" y="96021"/>
                        <a:pt x="0" y="87422"/>
                      </a:cubicBezTo>
                      <a:cubicBezTo>
                        <a:pt x="0" y="87422"/>
                        <a:pt x="0" y="87422"/>
                        <a:pt x="0" y="15765"/>
                      </a:cubicBezTo>
                      <a:cubicBezTo>
                        <a:pt x="0" y="6449"/>
                        <a:pt x="7166" y="0"/>
                        <a:pt x="1576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F7DF48A-AF3D-4451-98D9-16E17D196B10}"/>
              </a:ext>
            </a:extLst>
          </p:cNvPr>
          <p:cNvGrpSpPr/>
          <p:nvPr/>
        </p:nvGrpSpPr>
        <p:grpSpPr>
          <a:xfrm>
            <a:off x="-1" y="1445448"/>
            <a:ext cx="3361060" cy="738664"/>
            <a:chOff x="-1" y="1445448"/>
            <a:chExt cx="3361060" cy="738664"/>
          </a:xfrm>
        </p:grpSpPr>
        <p:sp>
          <p:nvSpPr>
            <p:cNvPr id="39" name="Rectangle: Top Corners Rounded 38">
              <a:extLst>
                <a:ext uri="{FF2B5EF4-FFF2-40B4-BE49-F238E27FC236}">
                  <a16:creationId xmlns:a16="http://schemas.microsoft.com/office/drawing/2014/main" id="{5C73FDDD-D42A-4FE9-9270-693DBD10FBA6}"/>
                </a:ext>
              </a:extLst>
            </p:cNvPr>
            <p:cNvSpPr/>
            <p:nvPr/>
          </p:nvSpPr>
          <p:spPr>
            <a:xfrm rot="5400000">
              <a:off x="1311197" y="13425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40" name="ee4pHeader1">
              <a:extLst>
                <a:ext uri="{FF2B5EF4-FFF2-40B4-BE49-F238E27FC236}">
                  <a16:creationId xmlns:a16="http://schemas.microsoft.com/office/drawing/2014/main" id="{96F0A335-E1DE-49FC-9CB7-86C000DB9442}"/>
                </a:ext>
              </a:extLst>
            </p:cNvPr>
            <p:cNvSpPr txBox="1"/>
            <p:nvPr/>
          </p:nvSpPr>
          <p:spPr>
            <a:xfrm>
              <a:off x="288478" y="1445448"/>
              <a:ext cx="2923073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ctr" anchorCtr="0">
              <a:no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fini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524C126-F842-44D8-81B3-710A7FE95D4B}"/>
              </a:ext>
            </a:extLst>
          </p:cNvPr>
          <p:cNvGrpSpPr>
            <a:grpSpLocks noChangeAspect="1"/>
          </p:cNvGrpSpPr>
          <p:nvPr/>
        </p:nvGrpSpPr>
        <p:grpSpPr>
          <a:xfrm>
            <a:off x="318702" y="1591593"/>
            <a:ext cx="446806" cy="446374"/>
            <a:chOff x="5273675" y="2606675"/>
            <a:chExt cx="1646238" cy="1644650"/>
          </a:xfrm>
        </p:grpSpPr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E61B5F86-7F70-433D-829F-8C742C2D758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0843F5D2-52EE-4557-BD56-5D0710CB1296}"/>
                </a:ext>
              </a:extLst>
            </p:cNvPr>
            <p:cNvGrpSpPr/>
            <p:nvPr/>
          </p:nvGrpSpPr>
          <p:grpSpPr>
            <a:xfrm>
              <a:off x="5651500" y="2971800"/>
              <a:ext cx="892175" cy="1109663"/>
              <a:chOff x="5651500" y="2971800"/>
              <a:chExt cx="892175" cy="1109663"/>
            </a:xfrm>
          </p:grpSpPr>
          <p:sp>
            <p:nvSpPr>
              <p:cNvPr id="47" name="Freeform 20">
                <a:extLst>
                  <a:ext uri="{FF2B5EF4-FFF2-40B4-BE49-F238E27FC236}">
                    <a16:creationId xmlns:a16="http://schemas.microsoft.com/office/drawing/2014/main" id="{F21592B1-907C-485A-AFFC-2770576CC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2971800"/>
                <a:ext cx="892175" cy="1109663"/>
              </a:xfrm>
              <a:custGeom>
                <a:avLst/>
                <a:gdLst>
                  <a:gd name="connsiteX0" fmla="*/ 30163 w 892175"/>
                  <a:gd name="connsiteY0" fmla="*/ 198438 h 1109663"/>
                  <a:gd name="connsiteX1" fmla="*/ 30163 w 892175"/>
                  <a:gd name="connsiteY1" fmla="*/ 1077913 h 1109663"/>
                  <a:gd name="connsiteX2" fmla="*/ 654051 w 892175"/>
                  <a:gd name="connsiteY2" fmla="*/ 1077913 h 1109663"/>
                  <a:gd name="connsiteX3" fmla="*/ 654051 w 892175"/>
                  <a:gd name="connsiteY3" fmla="*/ 942976 h 1109663"/>
                  <a:gd name="connsiteX4" fmla="*/ 654051 w 892175"/>
                  <a:gd name="connsiteY4" fmla="*/ 927101 h 1109663"/>
                  <a:gd name="connsiteX5" fmla="*/ 654051 w 892175"/>
                  <a:gd name="connsiteY5" fmla="*/ 911226 h 1109663"/>
                  <a:gd name="connsiteX6" fmla="*/ 654051 w 892175"/>
                  <a:gd name="connsiteY6" fmla="*/ 198438 h 1109663"/>
                  <a:gd name="connsiteX7" fmla="*/ 238126 w 892175"/>
                  <a:gd name="connsiteY7" fmla="*/ 198438 h 1109663"/>
                  <a:gd name="connsiteX8" fmla="*/ 222251 w 892175"/>
                  <a:gd name="connsiteY8" fmla="*/ 198438 h 1109663"/>
                  <a:gd name="connsiteX9" fmla="*/ 206376 w 892175"/>
                  <a:gd name="connsiteY9" fmla="*/ 198438 h 1109663"/>
                  <a:gd name="connsiteX10" fmla="*/ 238125 w 892175"/>
                  <a:gd name="connsiteY10" fmla="*/ 31750 h 1109663"/>
                  <a:gd name="connsiteX11" fmla="*/ 238125 w 892175"/>
                  <a:gd name="connsiteY11" fmla="*/ 166670 h 1109663"/>
                  <a:gd name="connsiteX12" fmla="*/ 670100 w 892175"/>
                  <a:gd name="connsiteY12" fmla="*/ 166670 h 1109663"/>
                  <a:gd name="connsiteX13" fmla="*/ 685782 w 892175"/>
                  <a:gd name="connsiteY13" fmla="*/ 182375 h 1109663"/>
                  <a:gd name="connsiteX14" fmla="*/ 685782 w 892175"/>
                  <a:gd name="connsiteY14" fmla="*/ 911225 h 1109663"/>
                  <a:gd name="connsiteX15" fmla="*/ 860425 w 892175"/>
                  <a:gd name="connsiteY15" fmla="*/ 911225 h 1109663"/>
                  <a:gd name="connsiteX16" fmla="*/ 860425 w 892175"/>
                  <a:gd name="connsiteY16" fmla="*/ 31750 h 1109663"/>
                  <a:gd name="connsiteX17" fmla="*/ 238125 w 892175"/>
                  <a:gd name="connsiteY17" fmla="*/ 31750 h 1109663"/>
                  <a:gd name="connsiteX18" fmla="*/ 221973 w 892175"/>
                  <a:gd name="connsiteY18" fmla="*/ 0 h 1109663"/>
                  <a:gd name="connsiteX19" fmla="*/ 876473 w 892175"/>
                  <a:gd name="connsiteY19" fmla="*/ 0 h 1109663"/>
                  <a:gd name="connsiteX20" fmla="*/ 892175 w 892175"/>
                  <a:gd name="connsiteY20" fmla="*/ 15720 h 1109663"/>
                  <a:gd name="connsiteX21" fmla="*/ 892175 w 892175"/>
                  <a:gd name="connsiteY21" fmla="*/ 927458 h 1109663"/>
                  <a:gd name="connsiteX22" fmla="*/ 876473 w 892175"/>
                  <a:gd name="connsiteY22" fmla="*/ 943178 h 1109663"/>
                  <a:gd name="connsiteX23" fmla="*/ 685904 w 892175"/>
                  <a:gd name="connsiteY23" fmla="*/ 943178 h 1109663"/>
                  <a:gd name="connsiteX24" fmla="*/ 685904 w 892175"/>
                  <a:gd name="connsiteY24" fmla="*/ 1093944 h 1109663"/>
                  <a:gd name="connsiteX25" fmla="*/ 670202 w 892175"/>
                  <a:gd name="connsiteY25" fmla="*/ 1109663 h 1109663"/>
                  <a:gd name="connsiteX26" fmla="*/ 15703 w 892175"/>
                  <a:gd name="connsiteY26" fmla="*/ 1109663 h 1109663"/>
                  <a:gd name="connsiteX27" fmla="*/ 0 w 892175"/>
                  <a:gd name="connsiteY27" fmla="*/ 1093944 h 1109663"/>
                  <a:gd name="connsiteX28" fmla="*/ 0 w 892175"/>
                  <a:gd name="connsiteY28" fmla="*/ 182205 h 1109663"/>
                  <a:gd name="connsiteX29" fmla="*/ 15703 w 892175"/>
                  <a:gd name="connsiteY29" fmla="*/ 166485 h 1109663"/>
                  <a:gd name="connsiteX30" fmla="*/ 206271 w 892175"/>
                  <a:gd name="connsiteY30" fmla="*/ 166485 h 1109663"/>
                  <a:gd name="connsiteX31" fmla="*/ 206271 w 892175"/>
                  <a:gd name="connsiteY31" fmla="*/ 15720 h 1109663"/>
                  <a:gd name="connsiteX32" fmla="*/ 221973 w 892175"/>
                  <a:gd name="connsiteY32" fmla="*/ 0 h 110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92175" h="1109663">
                    <a:moveTo>
                      <a:pt x="30163" y="198438"/>
                    </a:moveTo>
                    <a:lnTo>
                      <a:pt x="30163" y="1077913"/>
                    </a:lnTo>
                    <a:lnTo>
                      <a:pt x="654051" y="1077913"/>
                    </a:lnTo>
                    <a:lnTo>
                      <a:pt x="654051" y="942976"/>
                    </a:lnTo>
                    <a:lnTo>
                      <a:pt x="654051" y="927101"/>
                    </a:lnTo>
                    <a:lnTo>
                      <a:pt x="654051" y="911226"/>
                    </a:lnTo>
                    <a:lnTo>
                      <a:pt x="654051" y="198438"/>
                    </a:lnTo>
                    <a:lnTo>
                      <a:pt x="238126" y="198438"/>
                    </a:lnTo>
                    <a:lnTo>
                      <a:pt x="222251" y="198438"/>
                    </a:lnTo>
                    <a:lnTo>
                      <a:pt x="206376" y="198438"/>
                    </a:lnTo>
                    <a:close/>
                    <a:moveTo>
                      <a:pt x="238125" y="31750"/>
                    </a:moveTo>
                    <a:lnTo>
                      <a:pt x="238125" y="166670"/>
                    </a:lnTo>
                    <a:cubicBezTo>
                      <a:pt x="238125" y="166670"/>
                      <a:pt x="238125" y="166670"/>
                      <a:pt x="670100" y="166670"/>
                    </a:cubicBezTo>
                    <a:cubicBezTo>
                      <a:pt x="678654" y="166670"/>
                      <a:pt x="685782" y="173808"/>
                      <a:pt x="685782" y="182375"/>
                    </a:cubicBezTo>
                    <a:cubicBezTo>
                      <a:pt x="685782" y="182375"/>
                      <a:pt x="685782" y="182375"/>
                      <a:pt x="685782" y="911225"/>
                    </a:cubicBezTo>
                    <a:cubicBezTo>
                      <a:pt x="685782" y="911225"/>
                      <a:pt x="685782" y="911225"/>
                      <a:pt x="860425" y="911225"/>
                    </a:cubicBezTo>
                    <a:cubicBezTo>
                      <a:pt x="860425" y="911225"/>
                      <a:pt x="860425" y="911225"/>
                      <a:pt x="860425" y="31750"/>
                    </a:cubicBezTo>
                    <a:cubicBezTo>
                      <a:pt x="860425" y="31750"/>
                      <a:pt x="860425" y="31750"/>
                      <a:pt x="238125" y="31750"/>
                    </a:cubicBezTo>
                    <a:close/>
                    <a:moveTo>
                      <a:pt x="221973" y="0"/>
                    </a:moveTo>
                    <a:cubicBezTo>
                      <a:pt x="221973" y="0"/>
                      <a:pt x="221973" y="0"/>
                      <a:pt x="876473" y="0"/>
                    </a:cubicBezTo>
                    <a:cubicBezTo>
                      <a:pt x="885752" y="0"/>
                      <a:pt x="892175" y="7145"/>
                      <a:pt x="892175" y="15720"/>
                    </a:cubicBezTo>
                    <a:cubicBezTo>
                      <a:pt x="892175" y="15720"/>
                      <a:pt x="892175" y="15720"/>
                      <a:pt x="892175" y="927458"/>
                    </a:cubicBezTo>
                    <a:cubicBezTo>
                      <a:pt x="892175" y="936033"/>
                      <a:pt x="885752" y="943178"/>
                      <a:pt x="876473" y="943178"/>
                    </a:cubicBezTo>
                    <a:cubicBezTo>
                      <a:pt x="876473" y="943178"/>
                      <a:pt x="876473" y="943178"/>
                      <a:pt x="685904" y="943178"/>
                    </a:cubicBezTo>
                    <a:cubicBezTo>
                      <a:pt x="685904" y="943178"/>
                      <a:pt x="685904" y="943178"/>
                      <a:pt x="685904" y="1093944"/>
                    </a:cubicBezTo>
                    <a:cubicBezTo>
                      <a:pt x="685904" y="1102518"/>
                      <a:pt x="678767" y="1109663"/>
                      <a:pt x="670202" y="1109663"/>
                    </a:cubicBezTo>
                    <a:cubicBezTo>
                      <a:pt x="670202" y="1109663"/>
                      <a:pt x="670202" y="1109663"/>
                      <a:pt x="15703" y="1109663"/>
                    </a:cubicBezTo>
                    <a:cubicBezTo>
                      <a:pt x="6424" y="1109663"/>
                      <a:pt x="0" y="1102518"/>
                      <a:pt x="0" y="1093944"/>
                    </a:cubicBezTo>
                    <a:cubicBezTo>
                      <a:pt x="0" y="1093944"/>
                      <a:pt x="0" y="1093944"/>
                      <a:pt x="0" y="182205"/>
                    </a:cubicBezTo>
                    <a:cubicBezTo>
                      <a:pt x="0" y="173631"/>
                      <a:pt x="6424" y="166485"/>
                      <a:pt x="15703" y="166485"/>
                    </a:cubicBezTo>
                    <a:cubicBezTo>
                      <a:pt x="15703" y="166485"/>
                      <a:pt x="15703" y="166485"/>
                      <a:pt x="206271" y="166485"/>
                    </a:cubicBezTo>
                    <a:cubicBezTo>
                      <a:pt x="206271" y="166485"/>
                      <a:pt x="206271" y="166485"/>
                      <a:pt x="206271" y="15720"/>
                    </a:cubicBezTo>
                    <a:cubicBezTo>
                      <a:pt x="206271" y="7145"/>
                      <a:pt x="213409" y="0"/>
                      <a:pt x="2219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21">
                <a:extLst>
                  <a:ext uri="{FF2B5EF4-FFF2-40B4-BE49-F238E27FC236}">
                    <a16:creationId xmlns:a16="http://schemas.microsoft.com/office/drawing/2014/main" id="{2F4553D6-FA62-4D8E-8307-C744D6BD0D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88" y="3287713"/>
                <a:ext cx="454025" cy="646113"/>
              </a:xfrm>
              <a:custGeom>
                <a:avLst/>
                <a:gdLst>
                  <a:gd name="connsiteX0" fmla="*/ 15681 w 454025"/>
                  <a:gd name="connsiteY0" fmla="*/ 615950 h 646113"/>
                  <a:gd name="connsiteX1" fmla="*/ 91233 w 454025"/>
                  <a:gd name="connsiteY1" fmla="*/ 615950 h 646113"/>
                  <a:gd name="connsiteX2" fmla="*/ 439057 w 454025"/>
                  <a:gd name="connsiteY2" fmla="*/ 615950 h 646113"/>
                  <a:gd name="connsiteX3" fmla="*/ 453312 w 454025"/>
                  <a:gd name="connsiteY3" fmla="*/ 626472 h 646113"/>
                  <a:gd name="connsiteX4" fmla="*/ 454025 w 454025"/>
                  <a:gd name="connsiteY4" fmla="*/ 631382 h 646113"/>
                  <a:gd name="connsiteX5" fmla="*/ 454025 w 454025"/>
                  <a:gd name="connsiteY5" fmla="*/ 632785 h 646113"/>
                  <a:gd name="connsiteX6" fmla="*/ 444047 w 454025"/>
                  <a:gd name="connsiteY6" fmla="*/ 645412 h 646113"/>
                  <a:gd name="connsiteX7" fmla="*/ 442621 w 454025"/>
                  <a:gd name="connsiteY7" fmla="*/ 646113 h 646113"/>
                  <a:gd name="connsiteX8" fmla="*/ 441908 w 454025"/>
                  <a:gd name="connsiteY8" fmla="*/ 646113 h 646113"/>
                  <a:gd name="connsiteX9" fmla="*/ 439057 w 454025"/>
                  <a:gd name="connsiteY9" fmla="*/ 646113 h 646113"/>
                  <a:gd name="connsiteX10" fmla="*/ 15681 w 454025"/>
                  <a:gd name="connsiteY10" fmla="*/ 646113 h 646113"/>
                  <a:gd name="connsiteX11" fmla="*/ 14968 w 454025"/>
                  <a:gd name="connsiteY11" fmla="*/ 646113 h 646113"/>
                  <a:gd name="connsiteX12" fmla="*/ 0 w 454025"/>
                  <a:gd name="connsiteY12" fmla="*/ 631382 h 646113"/>
                  <a:gd name="connsiteX13" fmla="*/ 15681 w 454025"/>
                  <a:gd name="connsiteY13" fmla="*/ 615950 h 646113"/>
                  <a:gd name="connsiteX14" fmla="*/ 15681 w 454025"/>
                  <a:gd name="connsiteY14" fmla="*/ 512762 h 646113"/>
                  <a:gd name="connsiteX15" fmla="*/ 90520 w 454025"/>
                  <a:gd name="connsiteY15" fmla="*/ 512762 h 646113"/>
                  <a:gd name="connsiteX16" fmla="*/ 106201 w 454025"/>
                  <a:gd name="connsiteY16" fmla="*/ 512762 h 646113"/>
                  <a:gd name="connsiteX17" fmla="*/ 121881 w 454025"/>
                  <a:gd name="connsiteY17" fmla="*/ 512762 h 646113"/>
                  <a:gd name="connsiteX18" fmla="*/ 439057 w 454025"/>
                  <a:gd name="connsiteY18" fmla="*/ 512762 h 646113"/>
                  <a:gd name="connsiteX19" fmla="*/ 454025 w 454025"/>
                  <a:gd name="connsiteY19" fmla="*/ 528637 h 646113"/>
                  <a:gd name="connsiteX20" fmla="*/ 454025 w 454025"/>
                  <a:gd name="connsiteY20" fmla="*/ 531523 h 646113"/>
                  <a:gd name="connsiteX21" fmla="*/ 453312 w 454025"/>
                  <a:gd name="connsiteY21" fmla="*/ 532967 h 646113"/>
                  <a:gd name="connsiteX22" fmla="*/ 453312 w 454025"/>
                  <a:gd name="connsiteY22" fmla="*/ 533688 h 646113"/>
                  <a:gd name="connsiteX23" fmla="*/ 444047 w 454025"/>
                  <a:gd name="connsiteY23" fmla="*/ 543791 h 646113"/>
                  <a:gd name="connsiteX24" fmla="*/ 443334 w 454025"/>
                  <a:gd name="connsiteY24" fmla="*/ 543791 h 646113"/>
                  <a:gd name="connsiteX25" fmla="*/ 441908 w 454025"/>
                  <a:gd name="connsiteY25" fmla="*/ 544512 h 646113"/>
                  <a:gd name="connsiteX26" fmla="*/ 439057 w 454025"/>
                  <a:gd name="connsiteY26" fmla="*/ 544512 h 646113"/>
                  <a:gd name="connsiteX27" fmla="*/ 121881 w 454025"/>
                  <a:gd name="connsiteY27" fmla="*/ 544512 h 646113"/>
                  <a:gd name="connsiteX28" fmla="*/ 106201 w 454025"/>
                  <a:gd name="connsiteY28" fmla="*/ 544512 h 646113"/>
                  <a:gd name="connsiteX29" fmla="*/ 90520 w 454025"/>
                  <a:gd name="connsiteY29" fmla="*/ 544512 h 646113"/>
                  <a:gd name="connsiteX30" fmla="*/ 15681 w 454025"/>
                  <a:gd name="connsiteY30" fmla="*/ 544512 h 646113"/>
                  <a:gd name="connsiteX31" fmla="*/ 0 w 454025"/>
                  <a:gd name="connsiteY31" fmla="*/ 528637 h 646113"/>
                  <a:gd name="connsiteX32" fmla="*/ 15681 w 454025"/>
                  <a:gd name="connsiteY32" fmla="*/ 512762 h 646113"/>
                  <a:gd name="connsiteX33" fmla="*/ 15681 w 454025"/>
                  <a:gd name="connsiteY33" fmla="*/ 411162 h 646113"/>
                  <a:gd name="connsiteX34" fmla="*/ 90520 w 454025"/>
                  <a:gd name="connsiteY34" fmla="*/ 411162 h 646113"/>
                  <a:gd name="connsiteX35" fmla="*/ 106201 w 454025"/>
                  <a:gd name="connsiteY35" fmla="*/ 411162 h 646113"/>
                  <a:gd name="connsiteX36" fmla="*/ 121881 w 454025"/>
                  <a:gd name="connsiteY36" fmla="*/ 411162 h 646113"/>
                  <a:gd name="connsiteX37" fmla="*/ 439057 w 454025"/>
                  <a:gd name="connsiteY37" fmla="*/ 411162 h 646113"/>
                  <a:gd name="connsiteX38" fmla="*/ 454025 w 454025"/>
                  <a:gd name="connsiteY38" fmla="*/ 426594 h 646113"/>
                  <a:gd name="connsiteX39" fmla="*/ 439057 w 454025"/>
                  <a:gd name="connsiteY39" fmla="*/ 441325 h 646113"/>
                  <a:gd name="connsiteX40" fmla="*/ 121881 w 454025"/>
                  <a:gd name="connsiteY40" fmla="*/ 441325 h 646113"/>
                  <a:gd name="connsiteX41" fmla="*/ 106201 w 454025"/>
                  <a:gd name="connsiteY41" fmla="*/ 441325 h 646113"/>
                  <a:gd name="connsiteX42" fmla="*/ 90520 w 454025"/>
                  <a:gd name="connsiteY42" fmla="*/ 441325 h 646113"/>
                  <a:gd name="connsiteX43" fmla="*/ 15681 w 454025"/>
                  <a:gd name="connsiteY43" fmla="*/ 441325 h 646113"/>
                  <a:gd name="connsiteX44" fmla="*/ 0 w 454025"/>
                  <a:gd name="connsiteY44" fmla="*/ 426594 h 646113"/>
                  <a:gd name="connsiteX45" fmla="*/ 15681 w 454025"/>
                  <a:gd name="connsiteY45" fmla="*/ 411162 h 646113"/>
                  <a:gd name="connsiteX46" fmla="*/ 15681 w 454025"/>
                  <a:gd name="connsiteY46" fmla="*/ 307975 h 646113"/>
                  <a:gd name="connsiteX47" fmla="*/ 90520 w 454025"/>
                  <a:gd name="connsiteY47" fmla="*/ 307975 h 646113"/>
                  <a:gd name="connsiteX48" fmla="*/ 106201 w 454025"/>
                  <a:gd name="connsiteY48" fmla="*/ 307975 h 646113"/>
                  <a:gd name="connsiteX49" fmla="*/ 121881 w 454025"/>
                  <a:gd name="connsiteY49" fmla="*/ 307975 h 646113"/>
                  <a:gd name="connsiteX50" fmla="*/ 439057 w 454025"/>
                  <a:gd name="connsiteY50" fmla="*/ 307975 h 646113"/>
                  <a:gd name="connsiteX51" fmla="*/ 454025 w 454025"/>
                  <a:gd name="connsiteY51" fmla="*/ 323057 h 646113"/>
                  <a:gd name="connsiteX52" fmla="*/ 439057 w 454025"/>
                  <a:gd name="connsiteY52" fmla="*/ 338138 h 646113"/>
                  <a:gd name="connsiteX53" fmla="*/ 121881 w 454025"/>
                  <a:gd name="connsiteY53" fmla="*/ 338138 h 646113"/>
                  <a:gd name="connsiteX54" fmla="*/ 106201 w 454025"/>
                  <a:gd name="connsiteY54" fmla="*/ 338138 h 646113"/>
                  <a:gd name="connsiteX55" fmla="*/ 90520 w 454025"/>
                  <a:gd name="connsiteY55" fmla="*/ 338138 h 646113"/>
                  <a:gd name="connsiteX56" fmla="*/ 15681 w 454025"/>
                  <a:gd name="connsiteY56" fmla="*/ 338138 h 646113"/>
                  <a:gd name="connsiteX57" fmla="*/ 0 w 454025"/>
                  <a:gd name="connsiteY57" fmla="*/ 323057 h 646113"/>
                  <a:gd name="connsiteX58" fmla="*/ 15681 w 454025"/>
                  <a:gd name="connsiteY58" fmla="*/ 307975 h 646113"/>
                  <a:gd name="connsiteX59" fmla="*/ 15681 w 454025"/>
                  <a:gd name="connsiteY59" fmla="*/ 204787 h 646113"/>
                  <a:gd name="connsiteX60" fmla="*/ 90520 w 454025"/>
                  <a:gd name="connsiteY60" fmla="*/ 204787 h 646113"/>
                  <a:gd name="connsiteX61" fmla="*/ 106201 w 454025"/>
                  <a:gd name="connsiteY61" fmla="*/ 204787 h 646113"/>
                  <a:gd name="connsiteX62" fmla="*/ 121881 w 454025"/>
                  <a:gd name="connsiteY62" fmla="*/ 204787 h 646113"/>
                  <a:gd name="connsiteX63" fmla="*/ 439057 w 454025"/>
                  <a:gd name="connsiteY63" fmla="*/ 204787 h 646113"/>
                  <a:gd name="connsiteX64" fmla="*/ 454025 w 454025"/>
                  <a:gd name="connsiteY64" fmla="*/ 220219 h 646113"/>
                  <a:gd name="connsiteX65" fmla="*/ 439057 w 454025"/>
                  <a:gd name="connsiteY65" fmla="*/ 234950 h 646113"/>
                  <a:gd name="connsiteX66" fmla="*/ 121881 w 454025"/>
                  <a:gd name="connsiteY66" fmla="*/ 234950 h 646113"/>
                  <a:gd name="connsiteX67" fmla="*/ 106201 w 454025"/>
                  <a:gd name="connsiteY67" fmla="*/ 234950 h 646113"/>
                  <a:gd name="connsiteX68" fmla="*/ 90520 w 454025"/>
                  <a:gd name="connsiteY68" fmla="*/ 234950 h 646113"/>
                  <a:gd name="connsiteX69" fmla="*/ 15681 w 454025"/>
                  <a:gd name="connsiteY69" fmla="*/ 234950 h 646113"/>
                  <a:gd name="connsiteX70" fmla="*/ 0 w 454025"/>
                  <a:gd name="connsiteY70" fmla="*/ 220219 h 646113"/>
                  <a:gd name="connsiteX71" fmla="*/ 15681 w 454025"/>
                  <a:gd name="connsiteY71" fmla="*/ 204787 h 646113"/>
                  <a:gd name="connsiteX72" fmla="*/ 15681 w 454025"/>
                  <a:gd name="connsiteY72" fmla="*/ 101600 h 646113"/>
                  <a:gd name="connsiteX73" fmla="*/ 90520 w 454025"/>
                  <a:gd name="connsiteY73" fmla="*/ 101600 h 646113"/>
                  <a:gd name="connsiteX74" fmla="*/ 106201 w 454025"/>
                  <a:gd name="connsiteY74" fmla="*/ 101600 h 646113"/>
                  <a:gd name="connsiteX75" fmla="*/ 121881 w 454025"/>
                  <a:gd name="connsiteY75" fmla="*/ 101600 h 646113"/>
                  <a:gd name="connsiteX76" fmla="*/ 439057 w 454025"/>
                  <a:gd name="connsiteY76" fmla="*/ 101600 h 646113"/>
                  <a:gd name="connsiteX77" fmla="*/ 454025 w 454025"/>
                  <a:gd name="connsiteY77" fmla="*/ 117475 h 646113"/>
                  <a:gd name="connsiteX78" fmla="*/ 439057 w 454025"/>
                  <a:gd name="connsiteY78" fmla="*/ 133350 h 646113"/>
                  <a:gd name="connsiteX79" fmla="*/ 121881 w 454025"/>
                  <a:gd name="connsiteY79" fmla="*/ 133350 h 646113"/>
                  <a:gd name="connsiteX80" fmla="*/ 106201 w 454025"/>
                  <a:gd name="connsiteY80" fmla="*/ 133350 h 646113"/>
                  <a:gd name="connsiteX81" fmla="*/ 90520 w 454025"/>
                  <a:gd name="connsiteY81" fmla="*/ 133350 h 646113"/>
                  <a:gd name="connsiteX82" fmla="*/ 15681 w 454025"/>
                  <a:gd name="connsiteY82" fmla="*/ 133350 h 646113"/>
                  <a:gd name="connsiteX83" fmla="*/ 0 w 454025"/>
                  <a:gd name="connsiteY83" fmla="*/ 117475 h 646113"/>
                  <a:gd name="connsiteX84" fmla="*/ 15681 w 454025"/>
                  <a:gd name="connsiteY84" fmla="*/ 101600 h 646113"/>
                  <a:gd name="connsiteX85" fmla="*/ 15681 w 454025"/>
                  <a:gd name="connsiteY85" fmla="*/ 0 h 646113"/>
                  <a:gd name="connsiteX86" fmla="*/ 90520 w 454025"/>
                  <a:gd name="connsiteY86" fmla="*/ 0 h 646113"/>
                  <a:gd name="connsiteX87" fmla="*/ 106201 w 454025"/>
                  <a:gd name="connsiteY87" fmla="*/ 0 h 646113"/>
                  <a:gd name="connsiteX88" fmla="*/ 121881 w 454025"/>
                  <a:gd name="connsiteY88" fmla="*/ 0 h 646113"/>
                  <a:gd name="connsiteX89" fmla="*/ 439057 w 454025"/>
                  <a:gd name="connsiteY89" fmla="*/ 0 h 646113"/>
                  <a:gd name="connsiteX90" fmla="*/ 454025 w 454025"/>
                  <a:gd name="connsiteY90" fmla="*/ 15432 h 646113"/>
                  <a:gd name="connsiteX91" fmla="*/ 439057 w 454025"/>
                  <a:gd name="connsiteY91" fmla="*/ 30163 h 646113"/>
                  <a:gd name="connsiteX92" fmla="*/ 121881 w 454025"/>
                  <a:gd name="connsiteY92" fmla="*/ 30163 h 646113"/>
                  <a:gd name="connsiteX93" fmla="*/ 106201 w 454025"/>
                  <a:gd name="connsiteY93" fmla="*/ 30163 h 646113"/>
                  <a:gd name="connsiteX94" fmla="*/ 90520 w 454025"/>
                  <a:gd name="connsiteY94" fmla="*/ 30163 h 646113"/>
                  <a:gd name="connsiteX95" fmla="*/ 15681 w 454025"/>
                  <a:gd name="connsiteY95" fmla="*/ 30163 h 646113"/>
                  <a:gd name="connsiteX96" fmla="*/ 0 w 454025"/>
                  <a:gd name="connsiteY96" fmla="*/ 15432 h 646113"/>
                  <a:gd name="connsiteX97" fmla="*/ 15681 w 454025"/>
                  <a:gd name="connsiteY97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454025" h="646113">
                    <a:moveTo>
                      <a:pt x="15681" y="615950"/>
                    </a:moveTo>
                    <a:cubicBezTo>
                      <a:pt x="42766" y="615950"/>
                      <a:pt x="67712" y="615950"/>
                      <a:pt x="91233" y="615950"/>
                    </a:cubicBezTo>
                    <a:cubicBezTo>
                      <a:pt x="439057" y="615950"/>
                      <a:pt x="439057" y="615950"/>
                      <a:pt x="439057" y="615950"/>
                    </a:cubicBezTo>
                    <a:cubicBezTo>
                      <a:pt x="446185" y="615950"/>
                      <a:pt x="451887" y="620159"/>
                      <a:pt x="453312" y="626472"/>
                    </a:cubicBezTo>
                    <a:cubicBezTo>
                      <a:pt x="454025" y="627875"/>
                      <a:pt x="454025" y="629278"/>
                      <a:pt x="454025" y="631382"/>
                    </a:cubicBezTo>
                    <a:cubicBezTo>
                      <a:pt x="454025" y="632084"/>
                      <a:pt x="454025" y="632084"/>
                      <a:pt x="454025" y="632785"/>
                    </a:cubicBezTo>
                    <a:cubicBezTo>
                      <a:pt x="453312" y="638397"/>
                      <a:pt x="449749" y="643307"/>
                      <a:pt x="444047" y="645412"/>
                    </a:cubicBezTo>
                    <a:cubicBezTo>
                      <a:pt x="444047" y="645412"/>
                      <a:pt x="443334" y="646113"/>
                      <a:pt x="442621" y="646113"/>
                    </a:cubicBezTo>
                    <a:cubicBezTo>
                      <a:pt x="442621" y="646113"/>
                      <a:pt x="441908" y="646113"/>
                      <a:pt x="441908" y="646113"/>
                    </a:cubicBezTo>
                    <a:cubicBezTo>
                      <a:pt x="441196" y="646113"/>
                      <a:pt x="439770" y="646113"/>
                      <a:pt x="439057" y="646113"/>
                    </a:cubicBezTo>
                    <a:cubicBezTo>
                      <a:pt x="15681" y="646113"/>
                      <a:pt x="15681" y="646113"/>
                      <a:pt x="15681" y="646113"/>
                    </a:cubicBezTo>
                    <a:cubicBezTo>
                      <a:pt x="15681" y="646113"/>
                      <a:pt x="14968" y="646113"/>
                      <a:pt x="14968" y="646113"/>
                    </a:cubicBezTo>
                    <a:cubicBezTo>
                      <a:pt x="7128" y="646113"/>
                      <a:pt x="713" y="639800"/>
                      <a:pt x="0" y="631382"/>
                    </a:cubicBezTo>
                    <a:cubicBezTo>
                      <a:pt x="0" y="622965"/>
                      <a:pt x="7128" y="615950"/>
                      <a:pt x="15681" y="615950"/>
                    </a:cubicBezTo>
                    <a:close/>
                    <a:moveTo>
                      <a:pt x="15681" y="512762"/>
                    </a:moveTo>
                    <a:cubicBezTo>
                      <a:pt x="42053" y="512762"/>
                      <a:pt x="67712" y="512762"/>
                      <a:pt x="90520" y="512762"/>
                    </a:cubicBezTo>
                    <a:cubicBezTo>
                      <a:pt x="96222" y="512762"/>
                      <a:pt x="101211" y="512762"/>
                      <a:pt x="106201" y="512762"/>
                    </a:cubicBezTo>
                    <a:cubicBezTo>
                      <a:pt x="111903" y="512762"/>
                      <a:pt x="116892" y="512762"/>
                      <a:pt x="121881" y="512762"/>
                    </a:cubicBezTo>
                    <a:cubicBezTo>
                      <a:pt x="439057" y="512762"/>
                      <a:pt x="439057" y="512762"/>
                      <a:pt x="439057" y="512762"/>
                    </a:cubicBezTo>
                    <a:cubicBezTo>
                      <a:pt x="447610" y="512762"/>
                      <a:pt x="454025" y="519978"/>
                      <a:pt x="454025" y="528637"/>
                    </a:cubicBezTo>
                    <a:cubicBezTo>
                      <a:pt x="454025" y="530080"/>
                      <a:pt x="454025" y="530802"/>
                      <a:pt x="454025" y="531523"/>
                    </a:cubicBezTo>
                    <a:cubicBezTo>
                      <a:pt x="454025" y="532245"/>
                      <a:pt x="454025" y="532967"/>
                      <a:pt x="453312" y="532967"/>
                    </a:cubicBezTo>
                    <a:cubicBezTo>
                      <a:pt x="453312" y="533688"/>
                      <a:pt x="453312" y="533688"/>
                      <a:pt x="453312" y="533688"/>
                    </a:cubicBezTo>
                    <a:cubicBezTo>
                      <a:pt x="451887" y="538739"/>
                      <a:pt x="449036" y="542347"/>
                      <a:pt x="444047" y="543791"/>
                    </a:cubicBezTo>
                    <a:cubicBezTo>
                      <a:pt x="443334" y="543791"/>
                      <a:pt x="443334" y="543791"/>
                      <a:pt x="443334" y="543791"/>
                    </a:cubicBezTo>
                    <a:cubicBezTo>
                      <a:pt x="442621" y="543791"/>
                      <a:pt x="441908" y="543791"/>
                      <a:pt x="441908" y="544512"/>
                    </a:cubicBezTo>
                    <a:cubicBezTo>
                      <a:pt x="440483" y="544512"/>
                      <a:pt x="439770" y="544512"/>
                      <a:pt x="439057" y="544512"/>
                    </a:cubicBezTo>
                    <a:cubicBezTo>
                      <a:pt x="282964" y="544512"/>
                      <a:pt x="184604" y="544512"/>
                      <a:pt x="121881" y="544512"/>
                    </a:cubicBezTo>
                    <a:cubicBezTo>
                      <a:pt x="116892" y="544512"/>
                      <a:pt x="111190" y="544512"/>
                      <a:pt x="106201" y="544512"/>
                    </a:cubicBezTo>
                    <a:cubicBezTo>
                      <a:pt x="101211" y="544512"/>
                      <a:pt x="95509" y="544512"/>
                      <a:pt x="90520" y="544512"/>
                    </a:cubicBezTo>
                    <a:cubicBezTo>
                      <a:pt x="15681" y="544512"/>
                      <a:pt x="15681" y="544512"/>
                      <a:pt x="15681" y="544512"/>
                    </a:cubicBezTo>
                    <a:cubicBezTo>
                      <a:pt x="7128" y="544512"/>
                      <a:pt x="0" y="538018"/>
                      <a:pt x="0" y="528637"/>
                    </a:cubicBezTo>
                    <a:cubicBezTo>
                      <a:pt x="0" y="519978"/>
                      <a:pt x="7128" y="512762"/>
                      <a:pt x="15681" y="512762"/>
                    </a:cubicBezTo>
                    <a:close/>
                    <a:moveTo>
                      <a:pt x="15681" y="411162"/>
                    </a:moveTo>
                    <a:cubicBezTo>
                      <a:pt x="42053" y="411162"/>
                      <a:pt x="67712" y="411162"/>
                      <a:pt x="90520" y="411162"/>
                    </a:cubicBezTo>
                    <a:cubicBezTo>
                      <a:pt x="96222" y="411162"/>
                      <a:pt x="101211" y="411162"/>
                      <a:pt x="106201" y="411162"/>
                    </a:cubicBezTo>
                    <a:cubicBezTo>
                      <a:pt x="111903" y="411162"/>
                      <a:pt x="116892" y="411162"/>
                      <a:pt x="121881" y="411162"/>
                    </a:cubicBezTo>
                    <a:cubicBezTo>
                      <a:pt x="439057" y="411162"/>
                      <a:pt x="439057" y="411162"/>
                      <a:pt x="439057" y="411162"/>
                    </a:cubicBezTo>
                    <a:cubicBezTo>
                      <a:pt x="447610" y="411162"/>
                      <a:pt x="454025" y="418177"/>
                      <a:pt x="454025" y="426594"/>
                    </a:cubicBezTo>
                    <a:cubicBezTo>
                      <a:pt x="454025" y="435012"/>
                      <a:pt x="447610" y="441325"/>
                      <a:pt x="439057" y="441325"/>
                    </a:cubicBezTo>
                    <a:cubicBezTo>
                      <a:pt x="282964" y="441325"/>
                      <a:pt x="184604" y="441325"/>
                      <a:pt x="121881" y="441325"/>
                    </a:cubicBezTo>
                    <a:cubicBezTo>
                      <a:pt x="116892" y="441325"/>
                      <a:pt x="111190" y="441325"/>
                      <a:pt x="106201" y="441325"/>
                    </a:cubicBezTo>
                    <a:cubicBezTo>
                      <a:pt x="101211" y="441325"/>
                      <a:pt x="95509" y="441325"/>
                      <a:pt x="90520" y="441325"/>
                    </a:cubicBezTo>
                    <a:cubicBezTo>
                      <a:pt x="15681" y="441325"/>
                      <a:pt x="15681" y="441325"/>
                      <a:pt x="15681" y="441325"/>
                    </a:cubicBezTo>
                    <a:cubicBezTo>
                      <a:pt x="7128" y="441325"/>
                      <a:pt x="0" y="435012"/>
                      <a:pt x="0" y="426594"/>
                    </a:cubicBezTo>
                    <a:cubicBezTo>
                      <a:pt x="0" y="418177"/>
                      <a:pt x="7128" y="411162"/>
                      <a:pt x="15681" y="411162"/>
                    </a:cubicBezTo>
                    <a:close/>
                    <a:moveTo>
                      <a:pt x="15681" y="307975"/>
                    </a:moveTo>
                    <a:cubicBezTo>
                      <a:pt x="42053" y="307975"/>
                      <a:pt x="67712" y="307975"/>
                      <a:pt x="90520" y="307975"/>
                    </a:cubicBezTo>
                    <a:cubicBezTo>
                      <a:pt x="96222" y="307975"/>
                      <a:pt x="101211" y="307975"/>
                      <a:pt x="106201" y="307975"/>
                    </a:cubicBezTo>
                    <a:cubicBezTo>
                      <a:pt x="111903" y="307975"/>
                      <a:pt x="116892" y="307975"/>
                      <a:pt x="121881" y="307975"/>
                    </a:cubicBezTo>
                    <a:cubicBezTo>
                      <a:pt x="439057" y="307975"/>
                      <a:pt x="439057" y="307975"/>
                      <a:pt x="439057" y="307975"/>
                    </a:cubicBezTo>
                    <a:cubicBezTo>
                      <a:pt x="447610" y="307975"/>
                      <a:pt x="454025" y="315157"/>
                      <a:pt x="454025" y="323057"/>
                    </a:cubicBezTo>
                    <a:cubicBezTo>
                      <a:pt x="454025" y="330956"/>
                      <a:pt x="447610" y="338138"/>
                      <a:pt x="439057" y="338138"/>
                    </a:cubicBezTo>
                    <a:cubicBezTo>
                      <a:pt x="282964" y="338138"/>
                      <a:pt x="184604" y="338138"/>
                      <a:pt x="121881" y="338138"/>
                    </a:cubicBezTo>
                    <a:cubicBezTo>
                      <a:pt x="116892" y="338138"/>
                      <a:pt x="111190" y="338138"/>
                      <a:pt x="106201" y="338138"/>
                    </a:cubicBezTo>
                    <a:cubicBezTo>
                      <a:pt x="101211" y="338138"/>
                      <a:pt x="95509" y="338138"/>
                      <a:pt x="90520" y="338138"/>
                    </a:cubicBezTo>
                    <a:cubicBezTo>
                      <a:pt x="15681" y="338138"/>
                      <a:pt x="15681" y="338138"/>
                      <a:pt x="15681" y="338138"/>
                    </a:cubicBezTo>
                    <a:cubicBezTo>
                      <a:pt x="7128" y="338138"/>
                      <a:pt x="0" y="330956"/>
                      <a:pt x="0" y="323057"/>
                    </a:cubicBezTo>
                    <a:cubicBezTo>
                      <a:pt x="0" y="315157"/>
                      <a:pt x="7128" y="307975"/>
                      <a:pt x="15681" y="307975"/>
                    </a:cubicBezTo>
                    <a:close/>
                    <a:moveTo>
                      <a:pt x="15681" y="204787"/>
                    </a:moveTo>
                    <a:cubicBezTo>
                      <a:pt x="42053" y="204787"/>
                      <a:pt x="67712" y="204787"/>
                      <a:pt x="90520" y="204787"/>
                    </a:cubicBezTo>
                    <a:cubicBezTo>
                      <a:pt x="96222" y="204787"/>
                      <a:pt x="101211" y="204787"/>
                      <a:pt x="106201" y="204787"/>
                    </a:cubicBezTo>
                    <a:cubicBezTo>
                      <a:pt x="111903" y="204787"/>
                      <a:pt x="116892" y="204787"/>
                      <a:pt x="121881" y="204787"/>
                    </a:cubicBezTo>
                    <a:cubicBezTo>
                      <a:pt x="439057" y="204787"/>
                      <a:pt x="439057" y="204787"/>
                      <a:pt x="439057" y="204787"/>
                    </a:cubicBezTo>
                    <a:cubicBezTo>
                      <a:pt x="447610" y="204787"/>
                      <a:pt x="454025" y="211802"/>
                      <a:pt x="454025" y="220219"/>
                    </a:cubicBezTo>
                    <a:cubicBezTo>
                      <a:pt x="454025" y="227935"/>
                      <a:pt x="447610" y="234950"/>
                      <a:pt x="439057" y="234950"/>
                    </a:cubicBezTo>
                    <a:cubicBezTo>
                      <a:pt x="282964" y="234950"/>
                      <a:pt x="184604" y="234950"/>
                      <a:pt x="121881" y="234950"/>
                    </a:cubicBezTo>
                    <a:cubicBezTo>
                      <a:pt x="116892" y="234950"/>
                      <a:pt x="111190" y="234950"/>
                      <a:pt x="106201" y="234950"/>
                    </a:cubicBezTo>
                    <a:cubicBezTo>
                      <a:pt x="101211" y="234950"/>
                      <a:pt x="95509" y="234950"/>
                      <a:pt x="90520" y="234950"/>
                    </a:cubicBezTo>
                    <a:cubicBezTo>
                      <a:pt x="15681" y="234950"/>
                      <a:pt x="15681" y="234950"/>
                      <a:pt x="15681" y="234950"/>
                    </a:cubicBezTo>
                    <a:cubicBezTo>
                      <a:pt x="7128" y="234950"/>
                      <a:pt x="0" y="227935"/>
                      <a:pt x="0" y="220219"/>
                    </a:cubicBezTo>
                    <a:cubicBezTo>
                      <a:pt x="0" y="211802"/>
                      <a:pt x="7128" y="204787"/>
                      <a:pt x="15681" y="204787"/>
                    </a:cubicBezTo>
                    <a:close/>
                    <a:moveTo>
                      <a:pt x="15681" y="101600"/>
                    </a:moveTo>
                    <a:cubicBezTo>
                      <a:pt x="42053" y="101600"/>
                      <a:pt x="67712" y="101600"/>
                      <a:pt x="90520" y="101600"/>
                    </a:cubicBezTo>
                    <a:cubicBezTo>
                      <a:pt x="96222" y="101600"/>
                      <a:pt x="101211" y="101600"/>
                      <a:pt x="106201" y="101600"/>
                    </a:cubicBezTo>
                    <a:cubicBezTo>
                      <a:pt x="111903" y="101600"/>
                      <a:pt x="116892" y="101600"/>
                      <a:pt x="121881" y="101600"/>
                    </a:cubicBezTo>
                    <a:cubicBezTo>
                      <a:pt x="439057" y="101600"/>
                      <a:pt x="439057" y="101600"/>
                      <a:pt x="439057" y="101600"/>
                    </a:cubicBezTo>
                    <a:cubicBezTo>
                      <a:pt x="447610" y="101600"/>
                      <a:pt x="454025" y="108816"/>
                      <a:pt x="454025" y="117475"/>
                    </a:cubicBezTo>
                    <a:cubicBezTo>
                      <a:pt x="454025" y="126134"/>
                      <a:pt x="447610" y="133350"/>
                      <a:pt x="439057" y="133350"/>
                    </a:cubicBezTo>
                    <a:cubicBezTo>
                      <a:pt x="282964" y="133350"/>
                      <a:pt x="184604" y="133350"/>
                      <a:pt x="121881" y="133350"/>
                    </a:cubicBezTo>
                    <a:cubicBezTo>
                      <a:pt x="116892" y="133350"/>
                      <a:pt x="111190" y="133350"/>
                      <a:pt x="106201" y="133350"/>
                    </a:cubicBezTo>
                    <a:cubicBezTo>
                      <a:pt x="101211" y="133350"/>
                      <a:pt x="95509" y="133350"/>
                      <a:pt x="90520" y="133350"/>
                    </a:cubicBezTo>
                    <a:cubicBezTo>
                      <a:pt x="15681" y="133350"/>
                      <a:pt x="15681" y="133350"/>
                      <a:pt x="15681" y="133350"/>
                    </a:cubicBezTo>
                    <a:cubicBezTo>
                      <a:pt x="7128" y="133350"/>
                      <a:pt x="0" y="126134"/>
                      <a:pt x="0" y="117475"/>
                    </a:cubicBezTo>
                    <a:cubicBezTo>
                      <a:pt x="0" y="108816"/>
                      <a:pt x="7128" y="101600"/>
                      <a:pt x="15681" y="101600"/>
                    </a:cubicBezTo>
                    <a:close/>
                    <a:moveTo>
                      <a:pt x="15681" y="0"/>
                    </a:moveTo>
                    <a:cubicBezTo>
                      <a:pt x="42053" y="0"/>
                      <a:pt x="67712" y="0"/>
                      <a:pt x="90520" y="0"/>
                    </a:cubicBezTo>
                    <a:cubicBezTo>
                      <a:pt x="96222" y="0"/>
                      <a:pt x="101211" y="0"/>
                      <a:pt x="106201" y="0"/>
                    </a:cubicBezTo>
                    <a:cubicBezTo>
                      <a:pt x="111903" y="0"/>
                      <a:pt x="116892" y="0"/>
                      <a:pt x="121881" y="0"/>
                    </a:cubicBezTo>
                    <a:cubicBezTo>
                      <a:pt x="439057" y="0"/>
                      <a:pt x="439057" y="0"/>
                      <a:pt x="439057" y="0"/>
                    </a:cubicBezTo>
                    <a:cubicBezTo>
                      <a:pt x="447610" y="0"/>
                      <a:pt x="454025" y="6313"/>
                      <a:pt x="454025" y="15432"/>
                    </a:cubicBezTo>
                    <a:cubicBezTo>
                      <a:pt x="454025" y="23148"/>
                      <a:pt x="447610" y="30163"/>
                      <a:pt x="439057" y="30163"/>
                    </a:cubicBezTo>
                    <a:cubicBezTo>
                      <a:pt x="282964" y="30163"/>
                      <a:pt x="184604" y="30163"/>
                      <a:pt x="121881" y="30163"/>
                    </a:cubicBezTo>
                    <a:cubicBezTo>
                      <a:pt x="116892" y="30163"/>
                      <a:pt x="111190" y="30163"/>
                      <a:pt x="106201" y="30163"/>
                    </a:cubicBezTo>
                    <a:cubicBezTo>
                      <a:pt x="101211" y="30163"/>
                      <a:pt x="95509" y="30163"/>
                      <a:pt x="90520" y="30163"/>
                    </a:cubicBezTo>
                    <a:cubicBezTo>
                      <a:pt x="15681" y="30163"/>
                      <a:pt x="15681" y="30163"/>
                      <a:pt x="15681" y="30163"/>
                    </a:cubicBezTo>
                    <a:cubicBezTo>
                      <a:pt x="7128" y="30163"/>
                      <a:pt x="0" y="23148"/>
                      <a:pt x="0" y="15432"/>
                    </a:cubicBezTo>
                    <a:cubicBezTo>
                      <a:pt x="0" y="6313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832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35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01C74C-AE5C-42D9-83A5-811610910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8478" y="389221"/>
            <a:ext cx="11615045" cy="6647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Fase 3 | </a:t>
            </a:r>
            <a:r>
              <a:rPr lang="en-US" dirty="0" err="1"/>
              <a:t>Otros</a:t>
            </a:r>
            <a:r>
              <a:rPr lang="en-US" dirty="0"/>
              <a:t> </a:t>
            </a:r>
            <a:r>
              <a:rPr lang="en-US" dirty="0" err="1"/>
              <a:t>trabajadores</a:t>
            </a:r>
            <a:r>
              <a:rPr lang="en-US" dirty="0"/>
              <a:t> esenciales</a:t>
            </a:r>
            <a:r>
              <a:rPr lang="en-US" baseline="30000" dirty="0"/>
              <a:t>1</a:t>
            </a:r>
            <a:r>
              <a:rPr lang="en-US" dirty="0"/>
              <a:t> : </a:t>
            </a:r>
            <a:r>
              <a:rPr lang="en-US" dirty="0" err="1"/>
              <a:t>Identificando</a:t>
            </a:r>
            <a:r>
              <a:rPr lang="en-US" dirty="0"/>
              <a:t> </a:t>
            </a:r>
            <a:r>
              <a:rPr lang="en-US" dirty="0" err="1"/>
              <a:t>las</a:t>
            </a:r>
            <a:r>
              <a:rPr lang="en-US" dirty="0"/>
              <a:t> </a:t>
            </a:r>
            <a:r>
              <a:rPr lang="en-US" dirty="0" err="1"/>
              <a:t>características</a:t>
            </a:r>
            <a:r>
              <a:rPr lang="en-US" dirty="0"/>
              <a:t> y </a:t>
            </a:r>
            <a:r>
              <a:rPr lang="en-US" dirty="0" err="1"/>
              <a:t>definición</a:t>
            </a:r>
            <a:r>
              <a:rPr lang="en-US" dirty="0"/>
              <a:t> del </a:t>
            </a:r>
            <a:r>
              <a:rPr lang="en-US" dirty="0" err="1"/>
              <a:t>trabajo</a:t>
            </a:r>
            <a:r>
              <a:rPr lang="en-US" dirty="0"/>
              <a:t> </a:t>
            </a:r>
          </a:p>
        </p:txBody>
      </p:sp>
      <p:sp>
        <p:nvSpPr>
          <p:cNvPr id="6" name="ee4pFootnotes">
            <a:extLst>
              <a:ext uri="{FF2B5EF4-FFF2-40B4-BE49-F238E27FC236}">
                <a16:creationId xmlns:a16="http://schemas.microsoft.com/office/drawing/2014/main" id="{B4D64235-AE16-4654-ABC1-1B2D5868F4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478" y="6441531"/>
            <a:ext cx="11615045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s-NI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1- Tal como lo define el </a:t>
            </a:r>
            <a:r>
              <a:rPr lang="es-NI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Departamento de Seguridad Nacional </a:t>
            </a:r>
            <a:endParaRPr lang="es-NI" sz="1000" dirty="0">
              <a:solidFill>
                <a:srgbClr val="000000"/>
              </a:solidFill>
              <a:latin typeface="Calibri" panose="020F0502020204030204" pitchFamily="34" charset="0"/>
              <a:sym typeface="+mn-lt"/>
            </a:endParaRPr>
          </a:p>
          <a:p>
            <a:pPr>
              <a:lnSpc>
                <a:spcPct val="90000"/>
              </a:lnSpc>
            </a:pPr>
            <a:r>
              <a:rPr lang="es-NI" sz="1000" dirty="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Fuentes: DHS CISA; Recomendaciones interinas para la distribución de vacunas contra el COVID-19 del Comité Consultivo sobre prácticas de inmunización, Estados Unidos, Diciembre 2020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5BD9B3A2-A7C5-43DA-B99F-C233B960B821}"/>
              </a:ext>
            </a:extLst>
          </p:cNvPr>
          <p:cNvSpPr txBox="1"/>
          <p:nvPr/>
        </p:nvSpPr>
        <p:spPr>
          <a:xfrm>
            <a:off x="3466913" y="2770250"/>
            <a:ext cx="8436607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A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 trabajadores esenciales tienen las características de trabajar en persona para mantener sistemas, propiedades y actividades que son vitales para la seguridad, economía o salud pública del estado (o el país), tal como lo define el </a:t>
            </a:r>
            <a:r>
              <a:rPr lang="es-PA" sz="1400" dirty="0">
                <a:solidFill>
                  <a:srgbClr val="0519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PA" sz="1400" dirty="0">
                <a:solidFill>
                  <a:srgbClr val="05193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Departamento de Seguridad Nacional </a:t>
            </a:r>
            <a:endParaRPr lang="es-PA" sz="1400" dirty="0">
              <a:solidFill>
                <a:srgbClr val="05193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ee4pHeader1">
            <a:extLst>
              <a:ext uri="{FF2B5EF4-FFF2-40B4-BE49-F238E27FC236}">
                <a16:creationId xmlns:a16="http://schemas.microsoft.com/office/drawing/2014/main" id="{99576483-DC11-4253-A79D-8030C41DDDB7}"/>
              </a:ext>
            </a:extLst>
          </p:cNvPr>
          <p:cNvSpPr txBox="1"/>
          <p:nvPr/>
        </p:nvSpPr>
        <p:spPr>
          <a:xfrm>
            <a:off x="3466915" y="1711101"/>
            <a:ext cx="8436607" cy="44748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s-PA" sz="14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bajadores que no pertenecen al área de salud y laboran en infraestructuras esenciales, que no pueden desempeñar sus tareas de manera remota y por lo tanto enfrentan riesgos de exposición al COVID-19 relacionados   al trabajo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252306-3D77-40FD-9AB8-1540045624C6}"/>
              </a:ext>
            </a:extLst>
          </p:cNvPr>
          <p:cNvSpPr txBox="1"/>
          <p:nvPr/>
        </p:nvSpPr>
        <p:spPr>
          <a:xfrm>
            <a:off x="3466913" y="3908470"/>
            <a:ext cx="8436607" cy="19213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agrícolas y de alimentos no incluidos en las fases previas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que realizan actividades en persona en ambientes interiores, en manufacturas esenciales, no incluidos en fases previas; esto incluye aviación, producción de suministros esenciales para la respuesta contra el COVID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de servicios públicos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de servicios sociales y gobierno no incluidos en las fases previas de prioridad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de logística,  tales como trabajadores de transporte en camiones, </a:t>
            </a:r>
            <a:r>
              <a:rPr lang="es-HN" sz="1400" i="1" dirty="0">
                <a:solidFill>
                  <a:srgbClr val="051934"/>
                </a:solidFill>
                <a:latin typeface="Calibri" panose="020F0502020204030204" pitchFamily="34" charset="0"/>
              </a:rPr>
              <a:t>couriers</a:t>
            </a: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 y otros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de agua y desagüe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de refugios y viviendas (por ejemplo, de construcción), finanzas (por ejemplo, cajeros de los bancos) </a:t>
            </a:r>
          </a:p>
          <a:p>
            <a:pPr marL="432000" lvl="1" indent="-288000">
              <a:buClr>
                <a:srgbClr val="05193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s-HN" sz="1400" dirty="0">
                <a:solidFill>
                  <a:srgbClr val="051934"/>
                </a:solidFill>
                <a:latin typeface="Calibri" panose="020F0502020204030204" pitchFamily="34" charset="0"/>
              </a:rPr>
              <a:t>Trabajadores de tecnología informática y de comunicaciones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BB8B50-C7E6-4019-9DC6-C2F5DD7B0D3F}"/>
              </a:ext>
            </a:extLst>
          </p:cNvPr>
          <p:cNvGrpSpPr/>
          <p:nvPr/>
        </p:nvGrpSpPr>
        <p:grpSpPr>
          <a:xfrm>
            <a:off x="-1" y="2724084"/>
            <a:ext cx="3361060" cy="738663"/>
            <a:chOff x="-1" y="2404883"/>
            <a:chExt cx="3361060" cy="738663"/>
          </a:xfrm>
        </p:grpSpPr>
        <p:sp>
          <p:nvSpPr>
            <p:cNvPr id="84" name="Rectangle: Top Corners Rounded 83">
              <a:extLst>
                <a:ext uri="{FF2B5EF4-FFF2-40B4-BE49-F238E27FC236}">
                  <a16:creationId xmlns:a16="http://schemas.microsoft.com/office/drawing/2014/main" id="{0C173FF0-8913-4568-BB91-FA2486E67040}"/>
                </a:ext>
              </a:extLst>
            </p:cNvPr>
            <p:cNvSpPr/>
            <p:nvPr/>
          </p:nvSpPr>
          <p:spPr>
            <a:xfrm rot="5400000">
              <a:off x="1311197" y="1093685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87" name="ee4pHeader1">
              <a:extLst>
                <a:ext uri="{FF2B5EF4-FFF2-40B4-BE49-F238E27FC236}">
                  <a16:creationId xmlns:a16="http://schemas.microsoft.com/office/drawing/2014/main" id="{5C2CC77A-E351-4906-A254-0267BB6266B1}"/>
                </a:ext>
              </a:extLst>
            </p:cNvPr>
            <p:cNvSpPr txBox="1"/>
            <p:nvPr/>
          </p:nvSpPr>
          <p:spPr>
            <a:xfrm>
              <a:off x="288478" y="2635715"/>
              <a:ext cx="2923073" cy="2769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scrip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8D75762-8BE0-4B52-BFA9-223757726A9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02" y="2551028"/>
              <a:ext cx="445944" cy="446374"/>
              <a:chOff x="5273675" y="2605088"/>
              <a:chExt cx="1644650" cy="1646237"/>
            </a:xfrm>
          </p:grpSpPr>
          <p:sp>
            <p:nvSpPr>
              <p:cNvPr id="97" name="AutoShape 13">
                <a:extLst>
                  <a:ext uri="{FF2B5EF4-FFF2-40B4-BE49-F238E27FC236}">
                    <a16:creationId xmlns:a16="http://schemas.microsoft.com/office/drawing/2014/main" id="{9F6BF7D1-300F-4896-B3BF-701621B621F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FA3813C0-6524-40FD-8EA2-FCDA99765104}"/>
                  </a:ext>
                </a:extLst>
              </p:cNvPr>
              <p:cNvGrpSpPr/>
              <p:nvPr/>
            </p:nvGrpSpPr>
            <p:grpSpPr>
              <a:xfrm>
                <a:off x="5374481" y="2739232"/>
                <a:ext cx="1443038" cy="1377949"/>
                <a:chOff x="5373687" y="2738438"/>
                <a:chExt cx="1443038" cy="1377949"/>
              </a:xfrm>
            </p:grpSpPr>
            <p:sp>
              <p:nvSpPr>
                <p:cNvPr id="99" name="Freeform 15">
                  <a:extLst>
                    <a:ext uri="{FF2B5EF4-FFF2-40B4-BE49-F238E27FC236}">
                      <a16:creationId xmlns:a16="http://schemas.microsoft.com/office/drawing/2014/main" id="{604FED90-904F-456C-80FB-86F95D970F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37225" y="2797175"/>
                  <a:ext cx="701675" cy="582612"/>
                </a:xfrm>
                <a:custGeom>
                  <a:avLst/>
                  <a:gdLst>
                    <a:gd name="T0" fmla="*/ 958 w 983"/>
                    <a:gd name="T1" fmla="*/ 576 h 816"/>
                    <a:gd name="T2" fmla="*/ 960 w 983"/>
                    <a:gd name="T3" fmla="*/ 487 h 816"/>
                    <a:gd name="T4" fmla="*/ 139 w 983"/>
                    <a:gd name="T5" fmla="*/ 142 h 816"/>
                    <a:gd name="T6" fmla="*/ 31 w 983"/>
                    <a:gd name="T7" fmla="*/ 692 h 816"/>
                    <a:gd name="T8" fmla="*/ 48 w 983"/>
                    <a:gd name="T9" fmla="*/ 700 h 816"/>
                    <a:gd name="T10" fmla="*/ 62 w 983"/>
                    <a:gd name="T11" fmla="*/ 695 h 816"/>
                    <a:gd name="T12" fmla="*/ 65 w 983"/>
                    <a:gd name="T13" fmla="*/ 664 h 816"/>
                    <a:gd name="T14" fmla="*/ 87 w 983"/>
                    <a:gd name="T15" fmla="*/ 291 h 816"/>
                    <a:gd name="T16" fmla="*/ 212 w 983"/>
                    <a:gd name="T17" fmla="*/ 414 h 816"/>
                    <a:gd name="T18" fmla="*/ 155 w 983"/>
                    <a:gd name="T19" fmla="*/ 455 h 816"/>
                    <a:gd name="T20" fmla="*/ 242 w 983"/>
                    <a:gd name="T21" fmla="*/ 455 h 816"/>
                    <a:gd name="T22" fmla="*/ 330 w 983"/>
                    <a:gd name="T23" fmla="*/ 364 h 816"/>
                    <a:gd name="T24" fmla="*/ 353 w 983"/>
                    <a:gd name="T25" fmla="*/ 365 h 816"/>
                    <a:gd name="T26" fmla="*/ 408 w 983"/>
                    <a:gd name="T27" fmla="*/ 467 h 816"/>
                    <a:gd name="T28" fmla="*/ 376 w 983"/>
                    <a:gd name="T29" fmla="*/ 659 h 816"/>
                    <a:gd name="T30" fmla="*/ 349 w 983"/>
                    <a:gd name="T31" fmla="*/ 679 h 816"/>
                    <a:gd name="T32" fmla="*/ 170 w 983"/>
                    <a:gd name="T33" fmla="*/ 675 h 816"/>
                    <a:gd name="T34" fmla="*/ 122 w 983"/>
                    <a:gd name="T35" fmla="*/ 676 h 816"/>
                    <a:gd name="T36" fmla="*/ 104 w 983"/>
                    <a:gd name="T37" fmla="*/ 712 h 816"/>
                    <a:gd name="T38" fmla="*/ 147 w 983"/>
                    <a:gd name="T39" fmla="*/ 755 h 816"/>
                    <a:gd name="T40" fmla="*/ 348 w 983"/>
                    <a:gd name="T41" fmla="*/ 723 h 816"/>
                    <a:gd name="T42" fmla="*/ 417 w 983"/>
                    <a:gd name="T43" fmla="*/ 816 h 816"/>
                    <a:gd name="T44" fmla="*/ 420 w 983"/>
                    <a:gd name="T45" fmla="*/ 729 h 816"/>
                    <a:gd name="T46" fmla="*/ 474 w 983"/>
                    <a:gd name="T47" fmla="*/ 740 h 816"/>
                    <a:gd name="T48" fmla="*/ 558 w 983"/>
                    <a:gd name="T49" fmla="*/ 739 h 816"/>
                    <a:gd name="T50" fmla="*/ 617 w 983"/>
                    <a:gd name="T51" fmla="*/ 735 h 816"/>
                    <a:gd name="T52" fmla="*/ 626 w 983"/>
                    <a:gd name="T53" fmla="*/ 816 h 816"/>
                    <a:gd name="T54" fmla="*/ 682 w 983"/>
                    <a:gd name="T55" fmla="*/ 725 h 816"/>
                    <a:gd name="T56" fmla="*/ 852 w 983"/>
                    <a:gd name="T57" fmla="*/ 765 h 816"/>
                    <a:gd name="T58" fmla="*/ 896 w 983"/>
                    <a:gd name="T59" fmla="*/ 721 h 816"/>
                    <a:gd name="T60" fmla="*/ 852 w 983"/>
                    <a:gd name="T61" fmla="*/ 678 h 816"/>
                    <a:gd name="T62" fmla="*/ 683 w 983"/>
                    <a:gd name="T63" fmla="*/ 680 h 816"/>
                    <a:gd name="T64" fmla="*/ 654 w 983"/>
                    <a:gd name="T65" fmla="*/ 659 h 816"/>
                    <a:gd name="T66" fmla="*/ 613 w 983"/>
                    <a:gd name="T67" fmla="*/ 467 h 816"/>
                    <a:gd name="T68" fmla="*/ 674 w 983"/>
                    <a:gd name="T69" fmla="*/ 366 h 816"/>
                    <a:gd name="T70" fmla="*/ 695 w 983"/>
                    <a:gd name="T71" fmla="*/ 361 h 816"/>
                    <a:gd name="T72" fmla="*/ 765 w 983"/>
                    <a:gd name="T73" fmla="*/ 437 h 816"/>
                    <a:gd name="T74" fmla="*/ 852 w 983"/>
                    <a:gd name="T75" fmla="*/ 437 h 816"/>
                    <a:gd name="T76" fmla="*/ 796 w 983"/>
                    <a:gd name="T77" fmla="*/ 395 h 816"/>
                    <a:gd name="T78" fmla="*/ 870 w 983"/>
                    <a:gd name="T79" fmla="*/ 286 h 816"/>
                    <a:gd name="T80" fmla="*/ 916 w 983"/>
                    <a:gd name="T81" fmla="*/ 505 h 816"/>
                    <a:gd name="T82" fmla="*/ 914 w 983"/>
                    <a:gd name="T83" fmla="*/ 572 h 816"/>
                    <a:gd name="T84" fmla="*/ 939 w 983"/>
                    <a:gd name="T85" fmla="*/ 668 h 816"/>
                    <a:gd name="T86" fmla="*/ 977 w 983"/>
                    <a:gd name="T87" fmla="*/ 647 h 816"/>
                    <a:gd name="T88" fmla="*/ 612 w 983"/>
                    <a:gd name="T89" fmla="*/ 673 h 816"/>
                    <a:gd name="T90" fmla="*/ 547 w 983"/>
                    <a:gd name="T91" fmla="*/ 696 h 816"/>
                    <a:gd name="T92" fmla="*/ 484 w 983"/>
                    <a:gd name="T93" fmla="*/ 697 h 816"/>
                    <a:gd name="T94" fmla="*/ 418 w 983"/>
                    <a:gd name="T95" fmla="*/ 673 h 816"/>
                    <a:gd name="T96" fmla="*/ 468 w 983"/>
                    <a:gd name="T97" fmla="*/ 507 h 816"/>
                    <a:gd name="T98" fmla="*/ 532 w 983"/>
                    <a:gd name="T99" fmla="*/ 489 h 816"/>
                    <a:gd name="T100" fmla="*/ 609 w 983"/>
                    <a:gd name="T101" fmla="*/ 665 h 816"/>
                    <a:gd name="T102" fmla="*/ 569 w 983"/>
                    <a:gd name="T103" fmla="*/ 423 h 816"/>
                    <a:gd name="T104" fmla="*/ 489 w 983"/>
                    <a:gd name="T105" fmla="*/ 445 h 816"/>
                    <a:gd name="T106" fmla="*/ 390 w 983"/>
                    <a:gd name="T107" fmla="*/ 341 h 816"/>
                    <a:gd name="T108" fmla="*/ 636 w 983"/>
                    <a:gd name="T109" fmla="*/ 343 h 816"/>
                    <a:gd name="T110" fmla="*/ 703 w 983"/>
                    <a:gd name="T111" fmla="*/ 290 h 816"/>
                    <a:gd name="T112" fmla="*/ 639 w 983"/>
                    <a:gd name="T113" fmla="*/ 297 h 816"/>
                    <a:gd name="T114" fmla="*/ 344 w 983"/>
                    <a:gd name="T115" fmla="*/ 279 h 816"/>
                    <a:gd name="T116" fmla="*/ 109 w 983"/>
                    <a:gd name="T117" fmla="*/ 251 h 816"/>
                    <a:gd name="T118" fmla="*/ 848 w 983"/>
                    <a:gd name="T119" fmla="*/ 246 h 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83" h="816">
                      <a:moveTo>
                        <a:pt x="977" y="647"/>
                      </a:moveTo>
                      <a:cubicBezTo>
                        <a:pt x="958" y="612"/>
                        <a:pt x="957" y="586"/>
                        <a:pt x="958" y="576"/>
                      </a:cubicBezTo>
                      <a:cubicBezTo>
                        <a:pt x="960" y="552"/>
                        <a:pt x="960" y="528"/>
                        <a:pt x="960" y="505"/>
                      </a:cubicBezTo>
                      <a:cubicBezTo>
                        <a:pt x="960" y="499"/>
                        <a:pt x="960" y="493"/>
                        <a:pt x="960" y="487"/>
                      </a:cubicBezTo>
                      <a:cubicBezTo>
                        <a:pt x="960" y="214"/>
                        <a:pt x="749" y="0"/>
                        <a:pt x="481" y="0"/>
                      </a:cubicBezTo>
                      <a:cubicBezTo>
                        <a:pt x="350" y="0"/>
                        <a:pt x="229" y="50"/>
                        <a:pt x="139" y="142"/>
                      </a:cubicBezTo>
                      <a:cubicBezTo>
                        <a:pt x="49" y="234"/>
                        <a:pt x="0" y="356"/>
                        <a:pt x="0" y="487"/>
                      </a:cubicBezTo>
                      <a:cubicBezTo>
                        <a:pt x="0" y="489"/>
                        <a:pt x="2" y="657"/>
                        <a:pt x="31" y="692"/>
                      </a:cubicBezTo>
                      <a:cubicBezTo>
                        <a:pt x="33" y="694"/>
                        <a:pt x="35" y="696"/>
                        <a:pt x="37" y="697"/>
                      </a:cubicBezTo>
                      <a:cubicBezTo>
                        <a:pt x="41" y="699"/>
                        <a:pt x="45" y="700"/>
                        <a:pt x="48" y="700"/>
                      </a:cubicBezTo>
                      <a:cubicBezTo>
                        <a:pt x="49" y="700"/>
                        <a:pt x="49" y="700"/>
                        <a:pt x="50" y="700"/>
                      </a:cubicBezTo>
                      <a:cubicBezTo>
                        <a:pt x="54" y="699"/>
                        <a:pt x="59" y="698"/>
                        <a:pt x="62" y="695"/>
                      </a:cubicBezTo>
                      <a:cubicBezTo>
                        <a:pt x="68" y="690"/>
                        <a:pt x="70" y="684"/>
                        <a:pt x="70" y="677"/>
                      </a:cubicBezTo>
                      <a:cubicBezTo>
                        <a:pt x="70" y="672"/>
                        <a:pt x="68" y="668"/>
                        <a:pt x="65" y="664"/>
                      </a:cubicBezTo>
                      <a:cubicBezTo>
                        <a:pt x="55" y="650"/>
                        <a:pt x="44" y="555"/>
                        <a:pt x="44" y="487"/>
                      </a:cubicBezTo>
                      <a:cubicBezTo>
                        <a:pt x="44" y="416"/>
                        <a:pt x="60" y="350"/>
                        <a:pt x="87" y="291"/>
                      </a:cubicBezTo>
                      <a:cubicBezTo>
                        <a:pt x="299" y="333"/>
                        <a:pt x="299" y="333"/>
                        <a:pt x="299" y="333"/>
                      </a:cubicBezTo>
                      <a:cubicBezTo>
                        <a:pt x="212" y="414"/>
                        <a:pt x="212" y="414"/>
                        <a:pt x="212" y="414"/>
                      </a:cubicBezTo>
                      <a:cubicBezTo>
                        <a:pt x="207" y="413"/>
                        <a:pt x="203" y="412"/>
                        <a:pt x="198" y="412"/>
                      </a:cubicBezTo>
                      <a:cubicBezTo>
                        <a:pt x="174" y="412"/>
                        <a:pt x="155" y="431"/>
                        <a:pt x="155" y="455"/>
                      </a:cubicBezTo>
                      <a:cubicBezTo>
                        <a:pt x="155" y="479"/>
                        <a:pt x="174" y="499"/>
                        <a:pt x="198" y="499"/>
                      </a:cubicBezTo>
                      <a:cubicBezTo>
                        <a:pt x="222" y="499"/>
                        <a:pt x="242" y="479"/>
                        <a:pt x="242" y="455"/>
                      </a:cubicBezTo>
                      <a:cubicBezTo>
                        <a:pt x="242" y="452"/>
                        <a:pt x="242" y="449"/>
                        <a:pt x="241" y="447"/>
                      </a:cubicBezTo>
                      <a:cubicBezTo>
                        <a:pt x="330" y="364"/>
                        <a:pt x="330" y="364"/>
                        <a:pt x="330" y="364"/>
                      </a:cubicBezTo>
                      <a:cubicBezTo>
                        <a:pt x="335" y="365"/>
                        <a:pt x="339" y="366"/>
                        <a:pt x="344" y="366"/>
                      </a:cubicBezTo>
                      <a:cubicBezTo>
                        <a:pt x="347" y="366"/>
                        <a:pt x="350" y="366"/>
                        <a:pt x="353" y="365"/>
                      </a:cubicBezTo>
                      <a:cubicBezTo>
                        <a:pt x="413" y="445"/>
                        <a:pt x="413" y="445"/>
                        <a:pt x="413" y="445"/>
                      </a:cubicBezTo>
                      <a:cubicBezTo>
                        <a:pt x="410" y="451"/>
                        <a:pt x="408" y="459"/>
                        <a:pt x="408" y="467"/>
                      </a:cubicBezTo>
                      <a:cubicBezTo>
                        <a:pt x="408" y="481"/>
                        <a:pt x="414" y="493"/>
                        <a:pt x="424" y="501"/>
                      </a:cubicBezTo>
                      <a:cubicBezTo>
                        <a:pt x="376" y="659"/>
                        <a:pt x="376" y="659"/>
                        <a:pt x="376" y="659"/>
                      </a:cubicBezTo>
                      <a:cubicBezTo>
                        <a:pt x="368" y="661"/>
                        <a:pt x="361" y="665"/>
                        <a:pt x="355" y="671"/>
                      </a:cubicBezTo>
                      <a:cubicBezTo>
                        <a:pt x="353" y="673"/>
                        <a:pt x="350" y="676"/>
                        <a:pt x="349" y="679"/>
                      </a:cubicBezTo>
                      <a:cubicBezTo>
                        <a:pt x="184" y="689"/>
                        <a:pt x="184" y="689"/>
                        <a:pt x="184" y="689"/>
                      </a:cubicBezTo>
                      <a:cubicBezTo>
                        <a:pt x="181" y="683"/>
                        <a:pt x="176" y="679"/>
                        <a:pt x="170" y="675"/>
                      </a:cubicBezTo>
                      <a:cubicBezTo>
                        <a:pt x="164" y="671"/>
                        <a:pt x="156" y="668"/>
                        <a:pt x="147" y="668"/>
                      </a:cubicBezTo>
                      <a:cubicBezTo>
                        <a:pt x="138" y="668"/>
                        <a:pt x="129" y="671"/>
                        <a:pt x="122" y="676"/>
                      </a:cubicBezTo>
                      <a:cubicBezTo>
                        <a:pt x="113" y="683"/>
                        <a:pt x="106" y="694"/>
                        <a:pt x="104" y="706"/>
                      </a:cubicBezTo>
                      <a:cubicBezTo>
                        <a:pt x="104" y="708"/>
                        <a:pt x="104" y="710"/>
                        <a:pt x="104" y="712"/>
                      </a:cubicBezTo>
                      <a:cubicBezTo>
                        <a:pt x="104" y="726"/>
                        <a:pt x="110" y="738"/>
                        <a:pt x="121" y="746"/>
                      </a:cubicBezTo>
                      <a:cubicBezTo>
                        <a:pt x="128" y="752"/>
                        <a:pt x="137" y="755"/>
                        <a:pt x="147" y="755"/>
                      </a:cubicBezTo>
                      <a:cubicBezTo>
                        <a:pt x="164" y="755"/>
                        <a:pt x="178" y="746"/>
                        <a:pt x="185" y="733"/>
                      </a:cubicBezTo>
                      <a:cubicBezTo>
                        <a:pt x="348" y="723"/>
                        <a:pt x="348" y="723"/>
                        <a:pt x="348" y="723"/>
                      </a:cubicBezTo>
                      <a:cubicBezTo>
                        <a:pt x="354" y="734"/>
                        <a:pt x="365" y="743"/>
                        <a:pt x="378" y="745"/>
                      </a:cubicBezTo>
                      <a:cubicBezTo>
                        <a:pt x="417" y="816"/>
                        <a:pt x="417" y="816"/>
                        <a:pt x="417" y="816"/>
                      </a:cubicBezTo>
                      <a:cubicBezTo>
                        <a:pt x="468" y="816"/>
                        <a:pt x="468" y="816"/>
                        <a:pt x="468" y="816"/>
                      </a:cubicBezTo>
                      <a:cubicBezTo>
                        <a:pt x="420" y="729"/>
                        <a:pt x="420" y="729"/>
                        <a:pt x="420" y="729"/>
                      </a:cubicBezTo>
                      <a:cubicBezTo>
                        <a:pt x="420" y="729"/>
                        <a:pt x="420" y="728"/>
                        <a:pt x="420" y="728"/>
                      </a:cubicBezTo>
                      <a:cubicBezTo>
                        <a:pt x="474" y="740"/>
                        <a:pt x="474" y="740"/>
                        <a:pt x="474" y="740"/>
                      </a:cubicBezTo>
                      <a:cubicBezTo>
                        <a:pt x="480" y="758"/>
                        <a:pt x="496" y="771"/>
                        <a:pt x="516" y="771"/>
                      </a:cubicBezTo>
                      <a:cubicBezTo>
                        <a:pt x="536" y="771"/>
                        <a:pt x="553" y="757"/>
                        <a:pt x="558" y="739"/>
                      </a:cubicBezTo>
                      <a:cubicBezTo>
                        <a:pt x="610" y="728"/>
                        <a:pt x="610" y="728"/>
                        <a:pt x="610" y="728"/>
                      </a:cubicBezTo>
                      <a:cubicBezTo>
                        <a:pt x="612" y="731"/>
                        <a:pt x="614" y="733"/>
                        <a:pt x="617" y="735"/>
                      </a:cubicBezTo>
                      <a:cubicBezTo>
                        <a:pt x="577" y="816"/>
                        <a:pt x="577" y="816"/>
                        <a:pt x="577" y="816"/>
                      </a:cubicBezTo>
                      <a:cubicBezTo>
                        <a:pt x="626" y="816"/>
                        <a:pt x="626" y="816"/>
                        <a:pt x="626" y="816"/>
                      </a:cubicBezTo>
                      <a:cubicBezTo>
                        <a:pt x="663" y="741"/>
                        <a:pt x="663" y="741"/>
                        <a:pt x="663" y="741"/>
                      </a:cubicBezTo>
                      <a:cubicBezTo>
                        <a:pt x="671" y="738"/>
                        <a:pt x="677" y="732"/>
                        <a:pt x="682" y="725"/>
                      </a:cubicBezTo>
                      <a:cubicBezTo>
                        <a:pt x="812" y="738"/>
                        <a:pt x="812" y="738"/>
                        <a:pt x="812" y="738"/>
                      </a:cubicBezTo>
                      <a:cubicBezTo>
                        <a:pt x="818" y="754"/>
                        <a:pt x="834" y="765"/>
                        <a:pt x="852" y="765"/>
                      </a:cubicBezTo>
                      <a:cubicBezTo>
                        <a:pt x="858" y="765"/>
                        <a:pt x="863" y="764"/>
                        <a:pt x="868" y="762"/>
                      </a:cubicBezTo>
                      <a:cubicBezTo>
                        <a:pt x="884" y="755"/>
                        <a:pt x="896" y="740"/>
                        <a:pt x="896" y="721"/>
                      </a:cubicBezTo>
                      <a:cubicBezTo>
                        <a:pt x="896" y="717"/>
                        <a:pt x="895" y="713"/>
                        <a:pt x="894" y="709"/>
                      </a:cubicBezTo>
                      <a:cubicBezTo>
                        <a:pt x="889" y="691"/>
                        <a:pt x="872" y="678"/>
                        <a:pt x="852" y="678"/>
                      </a:cubicBezTo>
                      <a:cubicBezTo>
                        <a:pt x="838" y="678"/>
                        <a:pt x="826" y="684"/>
                        <a:pt x="818" y="694"/>
                      </a:cubicBezTo>
                      <a:cubicBezTo>
                        <a:pt x="683" y="680"/>
                        <a:pt x="683" y="680"/>
                        <a:pt x="683" y="680"/>
                      </a:cubicBezTo>
                      <a:cubicBezTo>
                        <a:pt x="679" y="674"/>
                        <a:pt x="673" y="668"/>
                        <a:pt x="666" y="664"/>
                      </a:cubicBezTo>
                      <a:cubicBezTo>
                        <a:pt x="662" y="662"/>
                        <a:pt x="658" y="660"/>
                        <a:pt x="654" y="659"/>
                      </a:cubicBezTo>
                      <a:cubicBezTo>
                        <a:pt x="598" y="499"/>
                        <a:pt x="598" y="499"/>
                        <a:pt x="598" y="499"/>
                      </a:cubicBezTo>
                      <a:cubicBezTo>
                        <a:pt x="607" y="491"/>
                        <a:pt x="613" y="480"/>
                        <a:pt x="613" y="467"/>
                      </a:cubicBezTo>
                      <a:cubicBezTo>
                        <a:pt x="613" y="459"/>
                        <a:pt x="611" y="453"/>
                        <a:pt x="608" y="447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74" y="366"/>
                        <a:pt x="674" y="366"/>
                        <a:pt x="674" y="366"/>
                      </a:cubicBezTo>
                      <a:cubicBezTo>
                        <a:pt x="682" y="366"/>
                        <a:pt x="689" y="364"/>
                        <a:pt x="695" y="361"/>
                      </a:cubicBezTo>
                      <a:cubicBezTo>
                        <a:pt x="766" y="427"/>
                        <a:pt x="766" y="427"/>
                        <a:pt x="766" y="427"/>
                      </a:cubicBezTo>
                      <a:cubicBezTo>
                        <a:pt x="765" y="430"/>
                        <a:pt x="765" y="433"/>
                        <a:pt x="765" y="437"/>
                      </a:cubicBezTo>
                      <a:cubicBezTo>
                        <a:pt x="765" y="461"/>
                        <a:pt x="785" y="480"/>
                        <a:pt x="809" y="480"/>
                      </a:cubicBezTo>
                      <a:cubicBezTo>
                        <a:pt x="833" y="480"/>
                        <a:pt x="852" y="461"/>
                        <a:pt x="852" y="437"/>
                      </a:cubicBezTo>
                      <a:cubicBezTo>
                        <a:pt x="852" y="413"/>
                        <a:pt x="833" y="393"/>
                        <a:pt x="809" y="393"/>
                      </a:cubicBezTo>
                      <a:cubicBezTo>
                        <a:pt x="804" y="393"/>
                        <a:pt x="800" y="394"/>
                        <a:pt x="796" y="395"/>
                      </a:cubicBezTo>
                      <a:cubicBezTo>
                        <a:pt x="726" y="329"/>
                        <a:pt x="726" y="329"/>
                        <a:pt x="726" y="329"/>
                      </a:cubicBezTo>
                      <a:cubicBezTo>
                        <a:pt x="870" y="286"/>
                        <a:pt x="870" y="286"/>
                        <a:pt x="870" y="286"/>
                      </a:cubicBezTo>
                      <a:cubicBezTo>
                        <a:pt x="899" y="346"/>
                        <a:pt x="916" y="414"/>
                        <a:pt x="916" y="487"/>
                      </a:cubicBezTo>
                      <a:cubicBezTo>
                        <a:pt x="916" y="493"/>
                        <a:pt x="916" y="499"/>
                        <a:pt x="916" y="505"/>
                      </a:cubicBezTo>
                      <a:cubicBezTo>
                        <a:pt x="916" y="528"/>
                        <a:pt x="916" y="550"/>
                        <a:pt x="914" y="572"/>
                      </a:cubicBezTo>
                      <a:cubicBezTo>
                        <a:pt x="914" y="572"/>
                        <a:pt x="914" y="572"/>
                        <a:pt x="914" y="572"/>
                      </a:cubicBezTo>
                      <a:cubicBezTo>
                        <a:pt x="912" y="598"/>
                        <a:pt x="919" y="629"/>
                        <a:pt x="933" y="658"/>
                      </a:cubicBezTo>
                      <a:cubicBezTo>
                        <a:pt x="935" y="661"/>
                        <a:pt x="937" y="665"/>
                        <a:pt x="939" y="668"/>
                      </a:cubicBezTo>
                      <a:cubicBezTo>
                        <a:pt x="945" y="679"/>
                        <a:pt x="958" y="683"/>
                        <a:pt x="969" y="677"/>
                      </a:cubicBezTo>
                      <a:cubicBezTo>
                        <a:pt x="979" y="671"/>
                        <a:pt x="983" y="657"/>
                        <a:pt x="977" y="647"/>
                      </a:cubicBezTo>
                      <a:close/>
                      <a:moveTo>
                        <a:pt x="609" y="665"/>
                      </a:moveTo>
                      <a:cubicBezTo>
                        <a:pt x="612" y="673"/>
                        <a:pt x="612" y="673"/>
                        <a:pt x="612" y="673"/>
                      </a:cubicBezTo>
                      <a:cubicBezTo>
                        <a:pt x="609" y="677"/>
                        <a:pt x="607" y="680"/>
                        <a:pt x="605" y="684"/>
                      </a:cubicBezTo>
                      <a:cubicBezTo>
                        <a:pt x="547" y="696"/>
                        <a:pt x="547" y="696"/>
                        <a:pt x="547" y="696"/>
                      </a:cubicBezTo>
                      <a:cubicBezTo>
                        <a:pt x="539" y="688"/>
                        <a:pt x="528" y="684"/>
                        <a:pt x="516" y="684"/>
                      </a:cubicBezTo>
                      <a:cubicBezTo>
                        <a:pt x="503" y="684"/>
                        <a:pt x="492" y="689"/>
                        <a:pt x="484" y="697"/>
                      </a:cubicBezTo>
                      <a:cubicBezTo>
                        <a:pt x="425" y="684"/>
                        <a:pt x="425" y="684"/>
                        <a:pt x="425" y="684"/>
                      </a:cubicBezTo>
                      <a:cubicBezTo>
                        <a:pt x="424" y="680"/>
                        <a:pt x="421" y="676"/>
                        <a:pt x="418" y="673"/>
                      </a:cubicBezTo>
                      <a:cubicBezTo>
                        <a:pt x="419" y="669"/>
                        <a:pt x="419" y="669"/>
                        <a:pt x="419" y="669"/>
                      </a:cubicBezTo>
                      <a:cubicBezTo>
                        <a:pt x="468" y="507"/>
                        <a:pt x="468" y="507"/>
                        <a:pt x="468" y="507"/>
                      </a:cubicBezTo>
                      <a:cubicBezTo>
                        <a:pt x="477" y="503"/>
                        <a:pt x="484" y="497"/>
                        <a:pt x="489" y="489"/>
                      </a:cubicBezTo>
                      <a:cubicBezTo>
                        <a:pt x="532" y="489"/>
                        <a:pt x="532" y="489"/>
                        <a:pt x="532" y="489"/>
                      </a:cubicBezTo>
                      <a:cubicBezTo>
                        <a:pt x="537" y="497"/>
                        <a:pt x="545" y="504"/>
                        <a:pt x="554" y="507"/>
                      </a:cubicBezTo>
                      <a:lnTo>
                        <a:pt x="609" y="665"/>
                      </a:lnTo>
                      <a:close/>
                      <a:moveTo>
                        <a:pt x="570" y="423"/>
                      </a:moveTo>
                      <a:cubicBezTo>
                        <a:pt x="570" y="423"/>
                        <a:pt x="570" y="423"/>
                        <a:pt x="569" y="423"/>
                      </a:cubicBezTo>
                      <a:cubicBezTo>
                        <a:pt x="553" y="423"/>
                        <a:pt x="539" y="432"/>
                        <a:pt x="532" y="445"/>
                      </a:cubicBezTo>
                      <a:cubicBezTo>
                        <a:pt x="489" y="445"/>
                        <a:pt x="489" y="445"/>
                        <a:pt x="489" y="445"/>
                      </a:cubicBezTo>
                      <a:cubicBezTo>
                        <a:pt x="481" y="432"/>
                        <a:pt x="468" y="424"/>
                        <a:pt x="452" y="423"/>
                      </a:cubicBezTo>
                      <a:cubicBezTo>
                        <a:pt x="390" y="341"/>
                        <a:pt x="390" y="341"/>
                        <a:pt x="390" y="341"/>
                      </a:cubicBezTo>
                      <a:cubicBezTo>
                        <a:pt x="635" y="341"/>
                        <a:pt x="635" y="341"/>
                        <a:pt x="635" y="341"/>
                      </a:cubicBezTo>
                      <a:cubicBezTo>
                        <a:pt x="635" y="342"/>
                        <a:pt x="636" y="342"/>
                        <a:pt x="636" y="343"/>
                      </a:cubicBezTo>
                      <a:lnTo>
                        <a:pt x="570" y="423"/>
                      </a:lnTo>
                      <a:close/>
                      <a:moveTo>
                        <a:pt x="703" y="290"/>
                      </a:moveTo>
                      <a:cubicBezTo>
                        <a:pt x="696" y="283"/>
                        <a:pt x="686" y="279"/>
                        <a:pt x="674" y="279"/>
                      </a:cubicBezTo>
                      <a:cubicBezTo>
                        <a:pt x="660" y="279"/>
                        <a:pt x="647" y="286"/>
                        <a:pt x="639" y="297"/>
                      </a:cubicBezTo>
                      <a:cubicBezTo>
                        <a:pt x="380" y="297"/>
                        <a:pt x="380" y="297"/>
                        <a:pt x="380" y="297"/>
                      </a:cubicBezTo>
                      <a:cubicBezTo>
                        <a:pt x="372" y="286"/>
                        <a:pt x="359" y="279"/>
                        <a:pt x="344" y="279"/>
                      </a:cubicBezTo>
                      <a:cubicBezTo>
                        <a:pt x="333" y="279"/>
                        <a:pt x="322" y="284"/>
                        <a:pt x="315" y="291"/>
                      </a:cubicBezTo>
                      <a:cubicBezTo>
                        <a:pt x="109" y="251"/>
                        <a:pt x="109" y="251"/>
                        <a:pt x="109" y="251"/>
                      </a:cubicBezTo>
                      <a:cubicBezTo>
                        <a:pt x="186" y="125"/>
                        <a:pt x="322" y="44"/>
                        <a:pt x="481" y="44"/>
                      </a:cubicBezTo>
                      <a:cubicBezTo>
                        <a:pt x="637" y="44"/>
                        <a:pt x="772" y="124"/>
                        <a:pt x="848" y="246"/>
                      </a:cubicBezTo>
                      <a:lnTo>
                        <a:pt x="703" y="29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6">
                  <a:extLst>
                    <a:ext uri="{FF2B5EF4-FFF2-40B4-BE49-F238E27FC236}">
                      <a16:creationId xmlns:a16="http://schemas.microsoft.com/office/drawing/2014/main" id="{8DCD4373-8FB4-4613-9B99-5509853E85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687" y="2738438"/>
                  <a:ext cx="1443038" cy="1377949"/>
                </a:xfrm>
                <a:custGeom>
                  <a:avLst/>
                  <a:gdLst>
                    <a:gd name="connsiteX0" fmla="*/ 1427273 w 1443038"/>
                    <a:gd name="connsiteY0" fmla="*/ 1274762 h 1377949"/>
                    <a:gd name="connsiteX1" fmla="*/ 1443038 w 1443038"/>
                    <a:gd name="connsiteY1" fmla="*/ 1290527 h 1377949"/>
                    <a:gd name="connsiteX2" fmla="*/ 1443038 w 1443038"/>
                    <a:gd name="connsiteY2" fmla="*/ 1362184 h 1377949"/>
                    <a:gd name="connsiteX3" fmla="*/ 1427273 w 1443038"/>
                    <a:gd name="connsiteY3" fmla="*/ 1377949 h 1377949"/>
                    <a:gd name="connsiteX4" fmla="*/ 1355615 w 1443038"/>
                    <a:gd name="connsiteY4" fmla="*/ 1377949 h 1377949"/>
                    <a:gd name="connsiteX5" fmla="*/ 1339850 w 1443038"/>
                    <a:gd name="connsiteY5" fmla="*/ 1362184 h 1377949"/>
                    <a:gd name="connsiteX6" fmla="*/ 1355615 w 1443038"/>
                    <a:gd name="connsiteY6" fmla="*/ 1346420 h 1377949"/>
                    <a:gd name="connsiteX7" fmla="*/ 1411509 w 1443038"/>
                    <a:gd name="connsiteY7" fmla="*/ 1346420 h 1377949"/>
                    <a:gd name="connsiteX8" fmla="*/ 1411509 w 1443038"/>
                    <a:gd name="connsiteY8" fmla="*/ 1290527 h 1377949"/>
                    <a:gd name="connsiteX9" fmla="*/ 1427273 w 1443038"/>
                    <a:gd name="connsiteY9" fmla="*/ 1274762 h 1377949"/>
                    <a:gd name="connsiteX10" fmla="*/ 15765 w 1443038"/>
                    <a:gd name="connsiteY10" fmla="*/ 1274762 h 1377949"/>
                    <a:gd name="connsiteX11" fmla="*/ 31529 w 1443038"/>
                    <a:gd name="connsiteY11" fmla="*/ 1290527 h 1377949"/>
                    <a:gd name="connsiteX12" fmla="*/ 31529 w 1443038"/>
                    <a:gd name="connsiteY12" fmla="*/ 1346420 h 1377949"/>
                    <a:gd name="connsiteX13" fmla="*/ 87423 w 1443038"/>
                    <a:gd name="connsiteY13" fmla="*/ 1346420 h 1377949"/>
                    <a:gd name="connsiteX14" fmla="*/ 103188 w 1443038"/>
                    <a:gd name="connsiteY14" fmla="*/ 1362184 h 1377949"/>
                    <a:gd name="connsiteX15" fmla="*/ 87423 w 1443038"/>
                    <a:gd name="connsiteY15" fmla="*/ 1377949 h 1377949"/>
                    <a:gd name="connsiteX16" fmla="*/ 15765 w 1443038"/>
                    <a:gd name="connsiteY16" fmla="*/ 1377949 h 1377949"/>
                    <a:gd name="connsiteX17" fmla="*/ 0 w 1443038"/>
                    <a:gd name="connsiteY17" fmla="*/ 1362184 h 1377949"/>
                    <a:gd name="connsiteX18" fmla="*/ 0 w 1443038"/>
                    <a:gd name="connsiteY18" fmla="*/ 1290527 h 1377949"/>
                    <a:gd name="connsiteX19" fmla="*/ 15765 w 1443038"/>
                    <a:gd name="connsiteY19" fmla="*/ 1274762 h 1377949"/>
                    <a:gd name="connsiteX20" fmla="*/ 502474 w 1443038"/>
                    <a:gd name="connsiteY20" fmla="*/ 969962 h 1377949"/>
                    <a:gd name="connsiteX21" fmla="*/ 513894 w 1443038"/>
                    <a:gd name="connsiteY21" fmla="*/ 969962 h 1377949"/>
                    <a:gd name="connsiteX22" fmla="*/ 533880 w 1443038"/>
                    <a:gd name="connsiteY22" fmla="*/ 986406 h 1377949"/>
                    <a:gd name="connsiteX23" fmla="*/ 544586 w 1443038"/>
                    <a:gd name="connsiteY23" fmla="*/ 994985 h 1377949"/>
                    <a:gd name="connsiteX24" fmla="*/ 718030 w 1443038"/>
                    <a:gd name="connsiteY24" fmla="*/ 1137261 h 1377949"/>
                    <a:gd name="connsiteX25" fmla="*/ 726595 w 1443038"/>
                    <a:gd name="connsiteY25" fmla="*/ 1136546 h 1377949"/>
                    <a:gd name="connsiteX26" fmla="*/ 900038 w 1443038"/>
                    <a:gd name="connsiteY26" fmla="*/ 994985 h 1377949"/>
                    <a:gd name="connsiteX27" fmla="*/ 910745 w 1443038"/>
                    <a:gd name="connsiteY27" fmla="*/ 986406 h 1377949"/>
                    <a:gd name="connsiteX28" fmla="*/ 930730 w 1443038"/>
                    <a:gd name="connsiteY28" fmla="*/ 969962 h 1377949"/>
                    <a:gd name="connsiteX29" fmla="*/ 942150 w 1443038"/>
                    <a:gd name="connsiteY29" fmla="*/ 969962 h 1377949"/>
                    <a:gd name="connsiteX30" fmla="*/ 1207669 w 1443038"/>
                    <a:gd name="connsiteY30" fmla="*/ 1017149 h 1377949"/>
                    <a:gd name="connsiteX31" fmla="*/ 1363268 w 1443038"/>
                    <a:gd name="connsiteY31" fmla="*/ 1243789 h 1377949"/>
                    <a:gd name="connsiteX32" fmla="*/ 1348279 w 1443038"/>
                    <a:gd name="connsiteY32" fmla="*/ 1265237 h 1377949"/>
                    <a:gd name="connsiteX33" fmla="*/ 96345 w 1443038"/>
                    <a:gd name="connsiteY33" fmla="*/ 1265237 h 1377949"/>
                    <a:gd name="connsiteX34" fmla="*/ 81356 w 1443038"/>
                    <a:gd name="connsiteY34" fmla="*/ 1243789 h 1377949"/>
                    <a:gd name="connsiteX35" fmla="*/ 236956 w 1443038"/>
                    <a:gd name="connsiteY35" fmla="*/ 1017149 h 1377949"/>
                    <a:gd name="connsiteX36" fmla="*/ 502474 w 1443038"/>
                    <a:gd name="connsiteY36" fmla="*/ 969962 h 1377949"/>
                    <a:gd name="connsiteX37" fmla="*/ 461962 w 1443038"/>
                    <a:gd name="connsiteY37" fmla="*/ 736600 h 1377949"/>
                    <a:gd name="connsiteX38" fmla="*/ 496284 w 1443038"/>
                    <a:gd name="connsiteY38" fmla="*/ 736600 h 1377949"/>
                    <a:gd name="connsiteX39" fmla="*/ 559922 w 1443038"/>
                    <a:gd name="connsiteY39" fmla="*/ 858347 h 1377949"/>
                    <a:gd name="connsiteX40" fmla="*/ 567072 w 1443038"/>
                    <a:gd name="connsiteY40" fmla="*/ 864043 h 1377949"/>
                    <a:gd name="connsiteX41" fmla="*/ 595673 w 1443038"/>
                    <a:gd name="connsiteY41" fmla="*/ 885402 h 1377949"/>
                    <a:gd name="connsiteX42" fmla="*/ 721519 w 1443038"/>
                    <a:gd name="connsiteY42" fmla="*/ 938800 h 1377949"/>
                    <a:gd name="connsiteX43" fmla="*/ 847364 w 1443038"/>
                    <a:gd name="connsiteY43" fmla="*/ 885402 h 1377949"/>
                    <a:gd name="connsiteX44" fmla="*/ 875966 w 1443038"/>
                    <a:gd name="connsiteY44" fmla="*/ 864043 h 1377949"/>
                    <a:gd name="connsiteX45" fmla="*/ 883116 w 1443038"/>
                    <a:gd name="connsiteY45" fmla="*/ 858347 h 1377949"/>
                    <a:gd name="connsiteX46" fmla="*/ 946754 w 1443038"/>
                    <a:gd name="connsiteY46" fmla="*/ 736600 h 1377949"/>
                    <a:gd name="connsiteX47" fmla="*/ 981075 w 1443038"/>
                    <a:gd name="connsiteY47" fmla="*/ 736600 h 1377949"/>
                    <a:gd name="connsiteX48" fmla="*/ 918152 w 1443038"/>
                    <a:gd name="connsiteY48" fmla="*/ 864043 h 1377949"/>
                    <a:gd name="connsiteX49" fmla="*/ 910287 w 1443038"/>
                    <a:gd name="connsiteY49" fmla="*/ 874722 h 1377949"/>
                    <a:gd name="connsiteX50" fmla="*/ 910287 w 1443038"/>
                    <a:gd name="connsiteY50" fmla="*/ 916728 h 1377949"/>
                    <a:gd name="connsiteX51" fmla="*/ 910287 w 1443038"/>
                    <a:gd name="connsiteY51" fmla="*/ 945919 h 1377949"/>
                    <a:gd name="connsiteX52" fmla="*/ 878826 w 1443038"/>
                    <a:gd name="connsiteY52" fmla="*/ 971550 h 1377949"/>
                    <a:gd name="connsiteX53" fmla="*/ 878826 w 1443038"/>
                    <a:gd name="connsiteY53" fmla="*/ 939511 h 1377949"/>
                    <a:gd name="connsiteX54" fmla="*/ 878826 w 1443038"/>
                    <a:gd name="connsiteY54" fmla="*/ 901065 h 1377949"/>
                    <a:gd name="connsiteX55" fmla="*/ 847364 w 1443038"/>
                    <a:gd name="connsiteY55" fmla="*/ 922424 h 1377949"/>
                    <a:gd name="connsiteX56" fmla="*/ 721519 w 1443038"/>
                    <a:gd name="connsiteY56" fmla="*/ 970126 h 1377949"/>
                    <a:gd name="connsiteX57" fmla="*/ 595673 w 1443038"/>
                    <a:gd name="connsiteY57" fmla="*/ 922424 h 1377949"/>
                    <a:gd name="connsiteX58" fmla="*/ 564212 w 1443038"/>
                    <a:gd name="connsiteY58" fmla="*/ 901065 h 1377949"/>
                    <a:gd name="connsiteX59" fmla="*/ 564212 w 1443038"/>
                    <a:gd name="connsiteY59" fmla="*/ 939511 h 1377949"/>
                    <a:gd name="connsiteX60" fmla="*/ 564212 w 1443038"/>
                    <a:gd name="connsiteY60" fmla="*/ 971550 h 1377949"/>
                    <a:gd name="connsiteX61" fmla="*/ 532750 w 1443038"/>
                    <a:gd name="connsiteY61" fmla="*/ 945919 h 1377949"/>
                    <a:gd name="connsiteX62" fmla="*/ 532750 w 1443038"/>
                    <a:gd name="connsiteY62" fmla="*/ 916728 h 1377949"/>
                    <a:gd name="connsiteX63" fmla="*/ 532750 w 1443038"/>
                    <a:gd name="connsiteY63" fmla="*/ 874722 h 1377949"/>
                    <a:gd name="connsiteX64" fmla="*/ 524885 w 1443038"/>
                    <a:gd name="connsiteY64" fmla="*/ 864043 h 1377949"/>
                    <a:gd name="connsiteX65" fmla="*/ 461962 w 1443038"/>
                    <a:gd name="connsiteY65" fmla="*/ 736600 h 1377949"/>
                    <a:gd name="connsiteX66" fmla="*/ 195101 w 1443038"/>
                    <a:gd name="connsiteY66" fmla="*/ 673100 h 1377949"/>
                    <a:gd name="connsiteX67" fmla="*/ 396526 w 1443038"/>
                    <a:gd name="connsiteY67" fmla="*/ 673100 h 1377949"/>
                    <a:gd name="connsiteX68" fmla="*/ 435810 w 1443038"/>
                    <a:gd name="connsiteY68" fmla="*/ 673100 h 1377949"/>
                    <a:gd name="connsiteX69" fmla="*/ 470095 w 1443038"/>
                    <a:gd name="connsiteY69" fmla="*/ 673100 h 1377949"/>
                    <a:gd name="connsiteX70" fmla="*/ 503666 w 1443038"/>
                    <a:gd name="connsiteY70" fmla="*/ 673100 h 1377949"/>
                    <a:gd name="connsiteX71" fmla="*/ 679377 w 1443038"/>
                    <a:gd name="connsiteY71" fmla="*/ 673100 h 1377949"/>
                    <a:gd name="connsiteX72" fmla="*/ 715090 w 1443038"/>
                    <a:gd name="connsiteY72" fmla="*/ 673100 h 1377949"/>
                    <a:gd name="connsiteX73" fmla="*/ 760804 w 1443038"/>
                    <a:gd name="connsiteY73" fmla="*/ 673100 h 1377949"/>
                    <a:gd name="connsiteX74" fmla="*/ 795803 w 1443038"/>
                    <a:gd name="connsiteY74" fmla="*/ 673100 h 1377949"/>
                    <a:gd name="connsiteX75" fmla="*/ 939371 w 1443038"/>
                    <a:gd name="connsiteY75" fmla="*/ 673100 h 1377949"/>
                    <a:gd name="connsiteX76" fmla="*/ 972942 w 1443038"/>
                    <a:gd name="connsiteY76" fmla="*/ 673100 h 1377949"/>
                    <a:gd name="connsiteX77" fmla="*/ 1007227 w 1443038"/>
                    <a:gd name="connsiteY77" fmla="*/ 673100 h 1377949"/>
                    <a:gd name="connsiteX78" fmla="*/ 1046512 w 1443038"/>
                    <a:gd name="connsiteY78" fmla="*/ 673100 h 1377949"/>
                    <a:gd name="connsiteX79" fmla="*/ 1247936 w 1443038"/>
                    <a:gd name="connsiteY79" fmla="*/ 673100 h 1377949"/>
                    <a:gd name="connsiteX80" fmla="*/ 1263650 w 1443038"/>
                    <a:gd name="connsiteY80" fmla="*/ 688975 h 1377949"/>
                    <a:gd name="connsiteX81" fmla="*/ 1247936 w 1443038"/>
                    <a:gd name="connsiteY81" fmla="*/ 704850 h 1377949"/>
                    <a:gd name="connsiteX82" fmla="*/ 1027941 w 1443038"/>
                    <a:gd name="connsiteY82" fmla="*/ 704850 h 1377949"/>
                    <a:gd name="connsiteX83" fmla="*/ 994370 w 1443038"/>
                    <a:gd name="connsiteY83" fmla="*/ 704850 h 1377949"/>
                    <a:gd name="connsiteX84" fmla="*/ 960085 w 1443038"/>
                    <a:gd name="connsiteY84" fmla="*/ 704850 h 1377949"/>
                    <a:gd name="connsiteX85" fmla="*/ 925800 w 1443038"/>
                    <a:gd name="connsiteY85" fmla="*/ 704850 h 1377949"/>
                    <a:gd name="connsiteX86" fmla="*/ 770089 w 1443038"/>
                    <a:gd name="connsiteY86" fmla="*/ 704850 h 1377949"/>
                    <a:gd name="connsiteX87" fmla="*/ 705805 w 1443038"/>
                    <a:gd name="connsiteY87" fmla="*/ 704850 h 1377949"/>
                    <a:gd name="connsiteX88" fmla="*/ 517237 w 1443038"/>
                    <a:gd name="connsiteY88" fmla="*/ 704850 h 1377949"/>
                    <a:gd name="connsiteX89" fmla="*/ 482952 w 1443038"/>
                    <a:gd name="connsiteY89" fmla="*/ 704850 h 1377949"/>
                    <a:gd name="connsiteX90" fmla="*/ 448667 w 1443038"/>
                    <a:gd name="connsiteY90" fmla="*/ 704850 h 1377949"/>
                    <a:gd name="connsiteX91" fmla="*/ 415097 w 1443038"/>
                    <a:gd name="connsiteY91" fmla="*/ 704850 h 1377949"/>
                    <a:gd name="connsiteX92" fmla="*/ 195101 w 1443038"/>
                    <a:gd name="connsiteY92" fmla="*/ 704850 h 1377949"/>
                    <a:gd name="connsiteX93" fmla="*/ 179387 w 1443038"/>
                    <a:gd name="connsiteY93" fmla="*/ 688975 h 1377949"/>
                    <a:gd name="connsiteX94" fmla="*/ 195101 w 1443038"/>
                    <a:gd name="connsiteY94" fmla="*/ 673100 h 1377949"/>
                    <a:gd name="connsiteX95" fmla="*/ 1062037 w 1443038"/>
                    <a:gd name="connsiteY95" fmla="*/ 579437 h 1377949"/>
                    <a:gd name="connsiteX96" fmla="*/ 1062037 w 1443038"/>
                    <a:gd name="connsiteY96" fmla="*/ 581548 h 1377949"/>
                    <a:gd name="connsiteX97" fmla="*/ 1034263 w 1443038"/>
                    <a:gd name="connsiteY97" fmla="*/ 641349 h 1377949"/>
                    <a:gd name="connsiteX98" fmla="*/ 985837 w 1443038"/>
                    <a:gd name="connsiteY98" fmla="*/ 641349 h 1377949"/>
                    <a:gd name="connsiteX99" fmla="*/ 992959 w 1443038"/>
                    <a:gd name="connsiteY99" fmla="*/ 633610 h 1377949"/>
                    <a:gd name="connsiteX100" fmla="*/ 1025718 w 1443038"/>
                    <a:gd name="connsiteY100" fmla="*/ 596322 h 1377949"/>
                    <a:gd name="connsiteX101" fmla="*/ 1062037 w 1443038"/>
                    <a:gd name="connsiteY101" fmla="*/ 579437 h 1377949"/>
                    <a:gd name="connsiteX102" fmla="*/ 381000 w 1443038"/>
                    <a:gd name="connsiteY102" fmla="*/ 579437 h 1377949"/>
                    <a:gd name="connsiteX103" fmla="*/ 417320 w 1443038"/>
                    <a:gd name="connsiteY103" fmla="*/ 596322 h 1377949"/>
                    <a:gd name="connsiteX104" fmla="*/ 450079 w 1443038"/>
                    <a:gd name="connsiteY104" fmla="*/ 633610 h 1377949"/>
                    <a:gd name="connsiteX105" fmla="*/ 457200 w 1443038"/>
                    <a:gd name="connsiteY105" fmla="*/ 641349 h 1377949"/>
                    <a:gd name="connsiteX106" fmla="*/ 408774 w 1443038"/>
                    <a:gd name="connsiteY106" fmla="*/ 641349 h 1377949"/>
                    <a:gd name="connsiteX107" fmla="*/ 381000 w 1443038"/>
                    <a:gd name="connsiteY107" fmla="*/ 582955 h 1377949"/>
                    <a:gd name="connsiteX108" fmla="*/ 381000 w 1443038"/>
                    <a:gd name="connsiteY108" fmla="*/ 579437 h 1377949"/>
                    <a:gd name="connsiteX109" fmla="*/ 1355615 w 1443038"/>
                    <a:gd name="connsiteY109" fmla="*/ 0 h 1377949"/>
                    <a:gd name="connsiteX110" fmla="*/ 1427273 w 1443038"/>
                    <a:gd name="connsiteY110" fmla="*/ 0 h 1377949"/>
                    <a:gd name="connsiteX111" fmla="*/ 1443038 w 1443038"/>
                    <a:gd name="connsiteY111" fmla="*/ 15765 h 1377949"/>
                    <a:gd name="connsiteX112" fmla="*/ 1443038 w 1443038"/>
                    <a:gd name="connsiteY112" fmla="*/ 87422 h 1377949"/>
                    <a:gd name="connsiteX113" fmla="*/ 1427273 w 1443038"/>
                    <a:gd name="connsiteY113" fmla="*/ 103187 h 1377949"/>
                    <a:gd name="connsiteX114" fmla="*/ 1411509 w 1443038"/>
                    <a:gd name="connsiteY114" fmla="*/ 87422 h 1377949"/>
                    <a:gd name="connsiteX115" fmla="*/ 1411509 w 1443038"/>
                    <a:gd name="connsiteY115" fmla="*/ 31529 h 1377949"/>
                    <a:gd name="connsiteX116" fmla="*/ 1355615 w 1443038"/>
                    <a:gd name="connsiteY116" fmla="*/ 31529 h 1377949"/>
                    <a:gd name="connsiteX117" fmla="*/ 1339850 w 1443038"/>
                    <a:gd name="connsiteY117" fmla="*/ 15765 h 1377949"/>
                    <a:gd name="connsiteX118" fmla="*/ 1355615 w 1443038"/>
                    <a:gd name="connsiteY118" fmla="*/ 0 h 1377949"/>
                    <a:gd name="connsiteX119" fmla="*/ 15765 w 1443038"/>
                    <a:gd name="connsiteY119" fmla="*/ 0 h 1377949"/>
                    <a:gd name="connsiteX120" fmla="*/ 87423 w 1443038"/>
                    <a:gd name="connsiteY120" fmla="*/ 0 h 1377949"/>
                    <a:gd name="connsiteX121" fmla="*/ 103188 w 1443038"/>
                    <a:gd name="connsiteY121" fmla="*/ 15765 h 1377949"/>
                    <a:gd name="connsiteX122" fmla="*/ 87423 w 1443038"/>
                    <a:gd name="connsiteY122" fmla="*/ 31529 h 1377949"/>
                    <a:gd name="connsiteX123" fmla="*/ 31529 w 1443038"/>
                    <a:gd name="connsiteY123" fmla="*/ 31529 h 1377949"/>
                    <a:gd name="connsiteX124" fmla="*/ 31529 w 1443038"/>
                    <a:gd name="connsiteY124" fmla="*/ 87422 h 1377949"/>
                    <a:gd name="connsiteX125" fmla="*/ 15765 w 1443038"/>
                    <a:gd name="connsiteY125" fmla="*/ 103187 h 1377949"/>
                    <a:gd name="connsiteX126" fmla="*/ 0 w 1443038"/>
                    <a:gd name="connsiteY126" fmla="*/ 87422 h 1377949"/>
                    <a:gd name="connsiteX127" fmla="*/ 0 w 1443038"/>
                    <a:gd name="connsiteY127" fmla="*/ 15765 h 1377949"/>
                    <a:gd name="connsiteX128" fmla="*/ 15765 w 1443038"/>
                    <a:gd name="connsiteY128" fmla="*/ 0 h 1377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1443038" h="1377949">
                      <a:moveTo>
                        <a:pt x="1427273" y="1274762"/>
                      </a:moveTo>
                      <a:cubicBezTo>
                        <a:pt x="1435872" y="1274762"/>
                        <a:pt x="1443038" y="1281928"/>
                        <a:pt x="1443038" y="1290527"/>
                      </a:cubicBezTo>
                      <a:cubicBezTo>
                        <a:pt x="1443038" y="1290527"/>
                        <a:pt x="1443038" y="1290527"/>
                        <a:pt x="1443038" y="1362184"/>
                      </a:cubicBezTo>
                      <a:cubicBezTo>
                        <a:pt x="1443038" y="1371500"/>
                        <a:pt x="1435872" y="1377949"/>
                        <a:pt x="1427273" y="1377949"/>
                      </a:cubicBezTo>
                      <a:cubicBezTo>
                        <a:pt x="1427273" y="1377949"/>
                        <a:pt x="1427273" y="1377949"/>
                        <a:pt x="1355615" y="1377949"/>
                      </a:cubicBezTo>
                      <a:cubicBezTo>
                        <a:pt x="1347016" y="1377949"/>
                        <a:pt x="1339850" y="1371500"/>
                        <a:pt x="1339850" y="1362184"/>
                      </a:cubicBezTo>
                      <a:cubicBezTo>
                        <a:pt x="1339850" y="1353586"/>
                        <a:pt x="1347016" y="1346420"/>
                        <a:pt x="1355615" y="1346420"/>
                      </a:cubicBezTo>
                      <a:cubicBezTo>
                        <a:pt x="1355615" y="1346420"/>
                        <a:pt x="1355615" y="1346420"/>
                        <a:pt x="1411509" y="1346420"/>
                      </a:cubicBezTo>
                      <a:cubicBezTo>
                        <a:pt x="1411509" y="1346420"/>
                        <a:pt x="1411509" y="1346420"/>
                        <a:pt x="1411509" y="1290527"/>
                      </a:cubicBezTo>
                      <a:cubicBezTo>
                        <a:pt x="1411509" y="1281928"/>
                        <a:pt x="1418674" y="1274762"/>
                        <a:pt x="1427273" y="1274762"/>
                      </a:cubicBezTo>
                      <a:close/>
                      <a:moveTo>
                        <a:pt x="15765" y="1274762"/>
                      </a:moveTo>
                      <a:cubicBezTo>
                        <a:pt x="24364" y="1274762"/>
                        <a:pt x="31529" y="1281928"/>
                        <a:pt x="31529" y="1290527"/>
                      </a:cubicBezTo>
                      <a:cubicBezTo>
                        <a:pt x="31529" y="1290527"/>
                        <a:pt x="31529" y="1290527"/>
                        <a:pt x="31529" y="1346420"/>
                      </a:cubicBezTo>
                      <a:cubicBezTo>
                        <a:pt x="31529" y="1346420"/>
                        <a:pt x="31529" y="1346420"/>
                        <a:pt x="87423" y="1346420"/>
                      </a:cubicBezTo>
                      <a:cubicBezTo>
                        <a:pt x="96022" y="1346420"/>
                        <a:pt x="103188" y="1353586"/>
                        <a:pt x="103188" y="1362184"/>
                      </a:cubicBezTo>
                      <a:cubicBezTo>
                        <a:pt x="103188" y="1371500"/>
                        <a:pt x="96022" y="1377949"/>
                        <a:pt x="87423" y="1377949"/>
                      </a:cubicBezTo>
                      <a:cubicBezTo>
                        <a:pt x="87423" y="1377949"/>
                        <a:pt x="87423" y="1377949"/>
                        <a:pt x="15765" y="1377949"/>
                      </a:cubicBezTo>
                      <a:cubicBezTo>
                        <a:pt x="7166" y="1377949"/>
                        <a:pt x="0" y="1371500"/>
                        <a:pt x="0" y="1362184"/>
                      </a:cubicBezTo>
                      <a:cubicBezTo>
                        <a:pt x="0" y="1362184"/>
                        <a:pt x="0" y="1362184"/>
                        <a:pt x="0" y="1290527"/>
                      </a:cubicBezTo>
                      <a:cubicBezTo>
                        <a:pt x="0" y="1281928"/>
                        <a:pt x="7166" y="1274762"/>
                        <a:pt x="15765" y="1274762"/>
                      </a:cubicBezTo>
                      <a:close/>
                      <a:moveTo>
                        <a:pt x="502474" y="969962"/>
                      </a:moveTo>
                      <a:cubicBezTo>
                        <a:pt x="509612" y="969962"/>
                        <a:pt x="513894" y="969962"/>
                        <a:pt x="513894" y="969962"/>
                      </a:cubicBezTo>
                      <a:cubicBezTo>
                        <a:pt x="513894" y="969962"/>
                        <a:pt x="521032" y="975682"/>
                        <a:pt x="533880" y="986406"/>
                      </a:cubicBezTo>
                      <a:cubicBezTo>
                        <a:pt x="537448" y="989266"/>
                        <a:pt x="541017" y="992126"/>
                        <a:pt x="544586" y="994985"/>
                      </a:cubicBezTo>
                      <a:cubicBezTo>
                        <a:pt x="588839" y="1032163"/>
                        <a:pt x="671635" y="1100083"/>
                        <a:pt x="718030" y="1137261"/>
                      </a:cubicBezTo>
                      <a:cubicBezTo>
                        <a:pt x="720885" y="1138691"/>
                        <a:pt x="724453" y="1138691"/>
                        <a:pt x="726595" y="1136546"/>
                      </a:cubicBezTo>
                      <a:cubicBezTo>
                        <a:pt x="787264" y="1087929"/>
                        <a:pt x="860068" y="1028588"/>
                        <a:pt x="900038" y="994985"/>
                      </a:cubicBezTo>
                      <a:cubicBezTo>
                        <a:pt x="903607" y="992126"/>
                        <a:pt x="907176" y="989266"/>
                        <a:pt x="910745" y="986406"/>
                      </a:cubicBezTo>
                      <a:cubicBezTo>
                        <a:pt x="923592" y="975682"/>
                        <a:pt x="930730" y="969962"/>
                        <a:pt x="930730" y="969962"/>
                      </a:cubicBezTo>
                      <a:cubicBezTo>
                        <a:pt x="930730" y="969962"/>
                        <a:pt x="935013" y="969962"/>
                        <a:pt x="942150" y="969962"/>
                      </a:cubicBezTo>
                      <a:cubicBezTo>
                        <a:pt x="982835" y="971392"/>
                        <a:pt x="1124873" y="978542"/>
                        <a:pt x="1207669" y="1017149"/>
                      </a:cubicBezTo>
                      <a:cubicBezTo>
                        <a:pt x="1286182" y="1052897"/>
                        <a:pt x="1343283" y="1190882"/>
                        <a:pt x="1363268" y="1243789"/>
                      </a:cubicBezTo>
                      <a:cubicBezTo>
                        <a:pt x="1366837" y="1253798"/>
                        <a:pt x="1359700" y="1265237"/>
                        <a:pt x="1348279" y="1265237"/>
                      </a:cubicBezTo>
                      <a:cubicBezTo>
                        <a:pt x="1348279" y="1265237"/>
                        <a:pt x="1348279" y="1265237"/>
                        <a:pt x="96345" y="1265237"/>
                      </a:cubicBezTo>
                      <a:cubicBezTo>
                        <a:pt x="84924" y="1265237"/>
                        <a:pt x="77787" y="1253798"/>
                        <a:pt x="81356" y="1243789"/>
                      </a:cubicBezTo>
                      <a:cubicBezTo>
                        <a:pt x="101341" y="1190882"/>
                        <a:pt x="158442" y="1052897"/>
                        <a:pt x="236956" y="1017149"/>
                      </a:cubicBezTo>
                      <a:cubicBezTo>
                        <a:pt x="319752" y="978542"/>
                        <a:pt x="461790" y="971392"/>
                        <a:pt x="502474" y="969962"/>
                      </a:cubicBezTo>
                      <a:close/>
                      <a:moveTo>
                        <a:pt x="461962" y="736600"/>
                      </a:moveTo>
                      <a:cubicBezTo>
                        <a:pt x="461962" y="736600"/>
                        <a:pt x="461962" y="736600"/>
                        <a:pt x="496284" y="736600"/>
                      </a:cubicBezTo>
                      <a:cubicBezTo>
                        <a:pt x="520595" y="792846"/>
                        <a:pt x="547051" y="846955"/>
                        <a:pt x="559922" y="858347"/>
                      </a:cubicBezTo>
                      <a:cubicBezTo>
                        <a:pt x="562067" y="860483"/>
                        <a:pt x="564927" y="861907"/>
                        <a:pt x="567072" y="864043"/>
                      </a:cubicBezTo>
                      <a:cubicBezTo>
                        <a:pt x="574937" y="870450"/>
                        <a:pt x="584948" y="877570"/>
                        <a:pt x="595673" y="885402"/>
                      </a:cubicBezTo>
                      <a:cubicBezTo>
                        <a:pt x="634285" y="911033"/>
                        <a:pt x="687912" y="938800"/>
                        <a:pt x="721519" y="938800"/>
                      </a:cubicBezTo>
                      <a:cubicBezTo>
                        <a:pt x="755125" y="938800"/>
                        <a:pt x="808753" y="911033"/>
                        <a:pt x="847364" y="885402"/>
                      </a:cubicBezTo>
                      <a:cubicBezTo>
                        <a:pt x="858090" y="877570"/>
                        <a:pt x="868100" y="870450"/>
                        <a:pt x="875966" y="864043"/>
                      </a:cubicBezTo>
                      <a:cubicBezTo>
                        <a:pt x="878111" y="861907"/>
                        <a:pt x="880971" y="860483"/>
                        <a:pt x="883116" y="858347"/>
                      </a:cubicBezTo>
                      <a:cubicBezTo>
                        <a:pt x="895986" y="846955"/>
                        <a:pt x="922443" y="792846"/>
                        <a:pt x="946754" y="736600"/>
                      </a:cubicBezTo>
                      <a:cubicBezTo>
                        <a:pt x="946754" y="736600"/>
                        <a:pt x="946754" y="736600"/>
                        <a:pt x="981075" y="736600"/>
                      </a:cubicBezTo>
                      <a:cubicBezTo>
                        <a:pt x="961769" y="782878"/>
                        <a:pt x="936743" y="835564"/>
                        <a:pt x="918152" y="864043"/>
                      </a:cubicBezTo>
                      <a:cubicBezTo>
                        <a:pt x="915292" y="868315"/>
                        <a:pt x="912432" y="871874"/>
                        <a:pt x="910287" y="874722"/>
                      </a:cubicBezTo>
                      <a:cubicBezTo>
                        <a:pt x="910287" y="874722"/>
                        <a:pt x="910287" y="874722"/>
                        <a:pt x="910287" y="916728"/>
                      </a:cubicBezTo>
                      <a:cubicBezTo>
                        <a:pt x="910287" y="916728"/>
                        <a:pt x="910287" y="916728"/>
                        <a:pt x="910287" y="945919"/>
                      </a:cubicBezTo>
                      <a:cubicBezTo>
                        <a:pt x="908142" y="947343"/>
                        <a:pt x="896701" y="957311"/>
                        <a:pt x="878826" y="971550"/>
                      </a:cubicBezTo>
                      <a:lnTo>
                        <a:pt x="878826" y="939511"/>
                      </a:lnTo>
                      <a:cubicBezTo>
                        <a:pt x="878826" y="939511"/>
                        <a:pt x="878826" y="939511"/>
                        <a:pt x="878826" y="901065"/>
                      </a:cubicBezTo>
                      <a:cubicBezTo>
                        <a:pt x="869530" y="908185"/>
                        <a:pt x="858805" y="915305"/>
                        <a:pt x="847364" y="922424"/>
                      </a:cubicBezTo>
                      <a:cubicBezTo>
                        <a:pt x="807323" y="946631"/>
                        <a:pt x="757985" y="970126"/>
                        <a:pt x="721519" y="970126"/>
                      </a:cubicBezTo>
                      <a:cubicBezTo>
                        <a:pt x="685052" y="970126"/>
                        <a:pt x="635715" y="946631"/>
                        <a:pt x="595673" y="922424"/>
                      </a:cubicBezTo>
                      <a:cubicBezTo>
                        <a:pt x="584233" y="915305"/>
                        <a:pt x="573507" y="908185"/>
                        <a:pt x="564212" y="901065"/>
                      </a:cubicBezTo>
                      <a:cubicBezTo>
                        <a:pt x="564212" y="901065"/>
                        <a:pt x="564212" y="901065"/>
                        <a:pt x="564212" y="939511"/>
                      </a:cubicBezTo>
                      <a:cubicBezTo>
                        <a:pt x="564212" y="939511"/>
                        <a:pt x="564212" y="939511"/>
                        <a:pt x="564212" y="971550"/>
                      </a:cubicBezTo>
                      <a:cubicBezTo>
                        <a:pt x="547051" y="957311"/>
                        <a:pt x="534895" y="947343"/>
                        <a:pt x="532750" y="945919"/>
                      </a:cubicBezTo>
                      <a:cubicBezTo>
                        <a:pt x="532750" y="945919"/>
                        <a:pt x="532750" y="945919"/>
                        <a:pt x="532750" y="916728"/>
                      </a:cubicBezTo>
                      <a:cubicBezTo>
                        <a:pt x="532750" y="916728"/>
                        <a:pt x="532750" y="916728"/>
                        <a:pt x="532750" y="874722"/>
                      </a:cubicBezTo>
                      <a:cubicBezTo>
                        <a:pt x="530605" y="871874"/>
                        <a:pt x="527745" y="868315"/>
                        <a:pt x="524885" y="864043"/>
                      </a:cubicBezTo>
                      <a:cubicBezTo>
                        <a:pt x="506294" y="835564"/>
                        <a:pt x="481268" y="782878"/>
                        <a:pt x="461962" y="736600"/>
                      </a:cubicBezTo>
                      <a:close/>
                      <a:moveTo>
                        <a:pt x="195101" y="673100"/>
                      </a:moveTo>
                      <a:cubicBezTo>
                        <a:pt x="195101" y="673100"/>
                        <a:pt x="195101" y="673100"/>
                        <a:pt x="396526" y="673100"/>
                      </a:cubicBezTo>
                      <a:cubicBezTo>
                        <a:pt x="396526" y="673100"/>
                        <a:pt x="396526" y="673100"/>
                        <a:pt x="435810" y="673100"/>
                      </a:cubicBezTo>
                      <a:cubicBezTo>
                        <a:pt x="435810" y="673100"/>
                        <a:pt x="435810" y="673100"/>
                        <a:pt x="470095" y="673100"/>
                      </a:cubicBezTo>
                      <a:cubicBezTo>
                        <a:pt x="470095" y="673100"/>
                        <a:pt x="470095" y="673100"/>
                        <a:pt x="503666" y="673100"/>
                      </a:cubicBezTo>
                      <a:cubicBezTo>
                        <a:pt x="503666" y="673100"/>
                        <a:pt x="503666" y="673100"/>
                        <a:pt x="679377" y="673100"/>
                      </a:cubicBezTo>
                      <a:cubicBezTo>
                        <a:pt x="679377" y="673100"/>
                        <a:pt x="679377" y="673100"/>
                        <a:pt x="715090" y="673100"/>
                      </a:cubicBezTo>
                      <a:cubicBezTo>
                        <a:pt x="715090" y="673100"/>
                        <a:pt x="715090" y="673100"/>
                        <a:pt x="760804" y="673100"/>
                      </a:cubicBezTo>
                      <a:cubicBezTo>
                        <a:pt x="760804" y="673100"/>
                        <a:pt x="760804" y="673100"/>
                        <a:pt x="795803" y="673100"/>
                      </a:cubicBezTo>
                      <a:cubicBezTo>
                        <a:pt x="795803" y="673100"/>
                        <a:pt x="795803" y="673100"/>
                        <a:pt x="939371" y="673100"/>
                      </a:cubicBezTo>
                      <a:cubicBezTo>
                        <a:pt x="939371" y="673100"/>
                        <a:pt x="939371" y="673100"/>
                        <a:pt x="972942" y="673100"/>
                      </a:cubicBezTo>
                      <a:cubicBezTo>
                        <a:pt x="972942" y="673100"/>
                        <a:pt x="972942" y="673100"/>
                        <a:pt x="1007227" y="673100"/>
                      </a:cubicBezTo>
                      <a:cubicBezTo>
                        <a:pt x="1007227" y="673100"/>
                        <a:pt x="1007227" y="673100"/>
                        <a:pt x="1046512" y="673100"/>
                      </a:cubicBezTo>
                      <a:cubicBezTo>
                        <a:pt x="1046512" y="673100"/>
                        <a:pt x="1046512" y="673100"/>
                        <a:pt x="1247936" y="673100"/>
                      </a:cubicBezTo>
                      <a:cubicBezTo>
                        <a:pt x="1256507" y="673100"/>
                        <a:pt x="1263650" y="680316"/>
                        <a:pt x="1263650" y="688975"/>
                      </a:cubicBezTo>
                      <a:cubicBezTo>
                        <a:pt x="1263650" y="697634"/>
                        <a:pt x="1256507" y="704850"/>
                        <a:pt x="1247936" y="704850"/>
                      </a:cubicBezTo>
                      <a:cubicBezTo>
                        <a:pt x="1247936" y="704850"/>
                        <a:pt x="1247936" y="704850"/>
                        <a:pt x="1027941" y="704850"/>
                      </a:cubicBezTo>
                      <a:cubicBezTo>
                        <a:pt x="1027941" y="704850"/>
                        <a:pt x="1027941" y="704850"/>
                        <a:pt x="994370" y="704850"/>
                      </a:cubicBezTo>
                      <a:cubicBezTo>
                        <a:pt x="994370" y="704850"/>
                        <a:pt x="994370" y="704850"/>
                        <a:pt x="960085" y="704850"/>
                      </a:cubicBezTo>
                      <a:cubicBezTo>
                        <a:pt x="960085" y="704850"/>
                        <a:pt x="960085" y="704850"/>
                        <a:pt x="925800" y="704850"/>
                      </a:cubicBezTo>
                      <a:cubicBezTo>
                        <a:pt x="925800" y="704850"/>
                        <a:pt x="925800" y="704850"/>
                        <a:pt x="770089" y="704850"/>
                      </a:cubicBezTo>
                      <a:cubicBezTo>
                        <a:pt x="770089" y="704850"/>
                        <a:pt x="770089" y="704850"/>
                        <a:pt x="705805" y="704850"/>
                      </a:cubicBezTo>
                      <a:cubicBezTo>
                        <a:pt x="705805" y="704850"/>
                        <a:pt x="705805" y="704850"/>
                        <a:pt x="517237" y="704850"/>
                      </a:cubicBezTo>
                      <a:cubicBezTo>
                        <a:pt x="517237" y="704850"/>
                        <a:pt x="517237" y="704850"/>
                        <a:pt x="482952" y="704850"/>
                      </a:cubicBezTo>
                      <a:cubicBezTo>
                        <a:pt x="482952" y="704850"/>
                        <a:pt x="482952" y="704850"/>
                        <a:pt x="448667" y="704850"/>
                      </a:cubicBezTo>
                      <a:cubicBezTo>
                        <a:pt x="448667" y="704850"/>
                        <a:pt x="448667" y="704850"/>
                        <a:pt x="415097" y="704850"/>
                      </a:cubicBezTo>
                      <a:cubicBezTo>
                        <a:pt x="415097" y="704850"/>
                        <a:pt x="415097" y="704850"/>
                        <a:pt x="195101" y="704850"/>
                      </a:cubicBezTo>
                      <a:cubicBezTo>
                        <a:pt x="186530" y="704850"/>
                        <a:pt x="179387" y="697634"/>
                        <a:pt x="179387" y="688975"/>
                      </a:cubicBezTo>
                      <a:cubicBezTo>
                        <a:pt x="179387" y="680316"/>
                        <a:pt x="186530" y="673100"/>
                        <a:pt x="195101" y="673100"/>
                      </a:cubicBezTo>
                      <a:close/>
                      <a:moveTo>
                        <a:pt x="1062037" y="579437"/>
                      </a:moveTo>
                      <a:cubicBezTo>
                        <a:pt x="1062037" y="580140"/>
                        <a:pt x="1062037" y="580844"/>
                        <a:pt x="1062037" y="581548"/>
                      </a:cubicBezTo>
                      <a:cubicBezTo>
                        <a:pt x="1059901" y="594211"/>
                        <a:pt x="1054204" y="620243"/>
                        <a:pt x="1034263" y="641349"/>
                      </a:cubicBezTo>
                      <a:cubicBezTo>
                        <a:pt x="1034263" y="641349"/>
                        <a:pt x="1034263" y="641349"/>
                        <a:pt x="985837" y="641349"/>
                      </a:cubicBezTo>
                      <a:cubicBezTo>
                        <a:pt x="987262" y="637831"/>
                        <a:pt x="990110" y="635721"/>
                        <a:pt x="992959" y="633610"/>
                      </a:cubicBezTo>
                      <a:cubicBezTo>
                        <a:pt x="1010762" y="625167"/>
                        <a:pt x="1020733" y="609689"/>
                        <a:pt x="1025718" y="596322"/>
                      </a:cubicBezTo>
                      <a:cubicBezTo>
                        <a:pt x="1025718" y="596322"/>
                        <a:pt x="1025718" y="596322"/>
                        <a:pt x="1062037" y="579437"/>
                      </a:cubicBezTo>
                      <a:close/>
                      <a:moveTo>
                        <a:pt x="381000" y="579437"/>
                      </a:moveTo>
                      <a:cubicBezTo>
                        <a:pt x="381000" y="579437"/>
                        <a:pt x="381000" y="579437"/>
                        <a:pt x="417320" y="596322"/>
                      </a:cubicBezTo>
                      <a:cubicBezTo>
                        <a:pt x="422305" y="609689"/>
                        <a:pt x="432275" y="625167"/>
                        <a:pt x="450079" y="633610"/>
                      </a:cubicBezTo>
                      <a:cubicBezTo>
                        <a:pt x="452927" y="635721"/>
                        <a:pt x="455776" y="637831"/>
                        <a:pt x="457200" y="641349"/>
                      </a:cubicBezTo>
                      <a:cubicBezTo>
                        <a:pt x="457200" y="641349"/>
                        <a:pt x="457200" y="641349"/>
                        <a:pt x="408774" y="641349"/>
                      </a:cubicBezTo>
                      <a:cubicBezTo>
                        <a:pt x="390258" y="621650"/>
                        <a:pt x="383849" y="597729"/>
                        <a:pt x="381000" y="582955"/>
                      </a:cubicBezTo>
                      <a:cubicBezTo>
                        <a:pt x="381000" y="582251"/>
                        <a:pt x="381000" y="580844"/>
                        <a:pt x="381000" y="579437"/>
                      </a:cubicBezTo>
                      <a:close/>
                      <a:moveTo>
                        <a:pt x="1355615" y="0"/>
                      </a:moveTo>
                      <a:cubicBezTo>
                        <a:pt x="1355615" y="0"/>
                        <a:pt x="1355615" y="0"/>
                        <a:pt x="1427273" y="0"/>
                      </a:cubicBezTo>
                      <a:cubicBezTo>
                        <a:pt x="1435872" y="0"/>
                        <a:pt x="1443038" y="6449"/>
                        <a:pt x="1443038" y="15765"/>
                      </a:cubicBezTo>
                      <a:cubicBezTo>
                        <a:pt x="1443038" y="15765"/>
                        <a:pt x="1443038" y="15765"/>
                        <a:pt x="1443038" y="87422"/>
                      </a:cubicBezTo>
                      <a:cubicBezTo>
                        <a:pt x="1443038" y="96021"/>
                        <a:pt x="1435872" y="103187"/>
                        <a:pt x="1427273" y="103187"/>
                      </a:cubicBezTo>
                      <a:cubicBezTo>
                        <a:pt x="1418674" y="103187"/>
                        <a:pt x="1411509" y="96021"/>
                        <a:pt x="1411509" y="87422"/>
                      </a:cubicBezTo>
                      <a:cubicBezTo>
                        <a:pt x="1411509" y="87422"/>
                        <a:pt x="1411509" y="87422"/>
                        <a:pt x="1411509" y="31529"/>
                      </a:cubicBezTo>
                      <a:cubicBezTo>
                        <a:pt x="1411509" y="31529"/>
                        <a:pt x="1411509" y="31529"/>
                        <a:pt x="1355615" y="31529"/>
                      </a:cubicBezTo>
                      <a:cubicBezTo>
                        <a:pt x="1347016" y="31529"/>
                        <a:pt x="1339850" y="24363"/>
                        <a:pt x="1339850" y="15765"/>
                      </a:cubicBezTo>
                      <a:cubicBezTo>
                        <a:pt x="1339850" y="6449"/>
                        <a:pt x="1347016" y="0"/>
                        <a:pt x="1355615" y="0"/>
                      </a:cubicBezTo>
                      <a:close/>
                      <a:moveTo>
                        <a:pt x="15765" y="0"/>
                      </a:moveTo>
                      <a:cubicBezTo>
                        <a:pt x="15765" y="0"/>
                        <a:pt x="15765" y="0"/>
                        <a:pt x="87423" y="0"/>
                      </a:cubicBezTo>
                      <a:cubicBezTo>
                        <a:pt x="96022" y="0"/>
                        <a:pt x="103188" y="6449"/>
                        <a:pt x="103188" y="15765"/>
                      </a:cubicBezTo>
                      <a:cubicBezTo>
                        <a:pt x="103188" y="24363"/>
                        <a:pt x="96022" y="31529"/>
                        <a:pt x="87423" y="31529"/>
                      </a:cubicBezTo>
                      <a:cubicBezTo>
                        <a:pt x="87423" y="31529"/>
                        <a:pt x="87423" y="31529"/>
                        <a:pt x="31529" y="31529"/>
                      </a:cubicBezTo>
                      <a:cubicBezTo>
                        <a:pt x="31529" y="31529"/>
                        <a:pt x="31529" y="31529"/>
                        <a:pt x="31529" y="87422"/>
                      </a:cubicBezTo>
                      <a:cubicBezTo>
                        <a:pt x="31529" y="96021"/>
                        <a:pt x="24364" y="103187"/>
                        <a:pt x="15765" y="103187"/>
                      </a:cubicBezTo>
                      <a:cubicBezTo>
                        <a:pt x="7166" y="103187"/>
                        <a:pt x="0" y="96021"/>
                        <a:pt x="0" y="87422"/>
                      </a:cubicBezTo>
                      <a:cubicBezTo>
                        <a:pt x="0" y="87422"/>
                        <a:pt x="0" y="87422"/>
                        <a:pt x="0" y="15765"/>
                      </a:cubicBezTo>
                      <a:cubicBezTo>
                        <a:pt x="0" y="6449"/>
                        <a:pt x="7166" y="0"/>
                        <a:pt x="1576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B5C20B-CAED-43A8-9737-517E5B7020B2}"/>
              </a:ext>
            </a:extLst>
          </p:cNvPr>
          <p:cNvGrpSpPr/>
          <p:nvPr/>
        </p:nvGrpSpPr>
        <p:grpSpPr>
          <a:xfrm>
            <a:off x="1" y="4028241"/>
            <a:ext cx="3361060" cy="738663"/>
            <a:chOff x="-1" y="4331084"/>
            <a:chExt cx="3361060" cy="738663"/>
          </a:xfrm>
        </p:grpSpPr>
        <p:sp>
          <p:nvSpPr>
            <p:cNvPr id="86" name="Rectangle: Top Corners Rounded 85">
              <a:extLst>
                <a:ext uri="{FF2B5EF4-FFF2-40B4-BE49-F238E27FC236}">
                  <a16:creationId xmlns:a16="http://schemas.microsoft.com/office/drawing/2014/main" id="{7AF2CDA3-0174-4AAC-8781-F47F68AD7B29}"/>
                </a:ext>
              </a:extLst>
            </p:cNvPr>
            <p:cNvSpPr/>
            <p:nvPr/>
          </p:nvSpPr>
          <p:spPr>
            <a:xfrm rot="5400000">
              <a:off x="1311197" y="3019886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0" name="ee4pHeader1">
              <a:extLst>
                <a:ext uri="{FF2B5EF4-FFF2-40B4-BE49-F238E27FC236}">
                  <a16:creationId xmlns:a16="http://schemas.microsoft.com/office/drawing/2014/main" id="{EF97FBC2-2E30-4229-9D75-A356AE27C052}"/>
                </a:ext>
              </a:extLst>
            </p:cNvPr>
            <p:cNvSpPr txBox="1"/>
            <p:nvPr/>
          </p:nvSpPr>
          <p:spPr>
            <a:xfrm>
              <a:off x="288478" y="4423417"/>
              <a:ext cx="2923073" cy="55399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t" anchorCtr="0">
              <a:sp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Ejempl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grup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incluídos</a:t>
              </a:r>
              <a:r>
                <a:rPr lang="en-US" dirty="0">
                  <a:solidFill>
                    <a:srgbClr val="FFFFFF"/>
                  </a:solidFill>
                  <a:cs typeface="Calibri" panose="020F0502020204030204" pitchFamily="34" charset="0"/>
                </a:rPr>
                <a:t> 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4009F30D-384B-4632-AA6F-AE249919451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8694" y="4477229"/>
              <a:ext cx="446374" cy="446374"/>
              <a:chOff x="5273803" y="2606803"/>
              <a:chExt cx="1645920" cy="1645920"/>
            </a:xfrm>
          </p:grpSpPr>
          <p:sp>
            <p:nvSpPr>
              <p:cNvPr id="102" name="AutoShape 23">
                <a:extLst>
                  <a:ext uri="{FF2B5EF4-FFF2-40B4-BE49-F238E27FC236}">
                    <a16:creationId xmlns:a16="http://schemas.microsoft.com/office/drawing/2014/main" id="{04C55FE9-0F5B-4708-80F5-73419412111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803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B07F9EC5-3A38-4242-A9E1-96507F14DD81}"/>
                  </a:ext>
                </a:extLst>
              </p:cNvPr>
              <p:cNvGrpSpPr/>
              <p:nvPr/>
            </p:nvGrpSpPr>
            <p:grpSpPr>
              <a:xfrm>
                <a:off x="5484691" y="2758822"/>
                <a:ext cx="1224143" cy="1341882"/>
                <a:chOff x="5355525" y="2801969"/>
                <a:chExt cx="1522662" cy="1670659"/>
              </a:xfrm>
            </p:grpSpPr>
            <p:sp>
              <p:nvSpPr>
                <p:cNvPr id="104" name="Freeform 25">
                  <a:extLst>
                    <a:ext uri="{FF2B5EF4-FFF2-40B4-BE49-F238E27FC236}">
                      <a16:creationId xmlns:a16="http://schemas.microsoft.com/office/drawing/2014/main" id="{8A0B4826-79DC-4439-A1FB-66B8B5B26D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3100809"/>
                  <a:ext cx="1522662" cy="1371819"/>
                </a:xfrm>
                <a:custGeom>
                  <a:avLst/>
                  <a:gdLst>
                    <a:gd name="T0" fmla="*/ 773 w 1714"/>
                    <a:gd name="T1" fmla="*/ 454 h 1542"/>
                    <a:gd name="T2" fmla="*/ 493 w 1714"/>
                    <a:gd name="T3" fmla="*/ 368 h 1542"/>
                    <a:gd name="T4" fmla="*/ 258 w 1714"/>
                    <a:gd name="T5" fmla="*/ 0 h 1542"/>
                    <a:gd name="T6" fmla="*/ 258 w 1714"/>
                    <a:gd name="T7" fmla="*/ 517 h 1542"/>
                    <a:gd name="T8" fmla="*/ 717 w 1714"/>
                    <a:gd name="T9" fmla="*/ 548 h 1542"/>
                    <a:gd name="T10" fmla="*/ 747 w 1714"/>
                    <a:gd name="T11" fmla="*/ 540 h 1542"/>
                    <a:gd name="T12" fmla="*/ 794 w 1714"/>
                    <a:gd name="T13" fmla="*/ 492 h 1542"/>
                    <a:gd name="T14" fmla="*/ 402 w 1714"/>
                    <a:gd name="T15" fmla="*/ 273 h 1542"/>
                    <a:gd name="T16" fmla="*/ 373 w 1714"/>
                    <a:gd name="T17" fmla="*/ 331 h 1542"/>
                    <a:gd name="T18" fmla="*/ 363 w 1714"/>
                    <a:gd name="T19" fmla="*/ 367 h 1542"/>
                    <a:gd name="T20" fmla="*/ 301 w 1714"/>
                    <a:gd name="T21" fmla="*/ 423 h 1542"/>
                    <a:gd name="T22" fmla="*/ 294 w 1714"/>
                    <a:gd name="T23" fmla="*/ 430 h 1542"/>
                    <a:gd name="T24" fmla="*/ 169 w 1714"/>
                    <a:gd name="T25" fmla="*/ 402 h 1542"/>
                    <a:gd name="T26" fmla="*/ 125 w 1714"/>
                    <a:gd name="T27" fmla="*/ 167 h 1542"/>
                    <a:gd name="T28" fmla="*/ 385 w 1714"/>
                    <a:gd name="T29" fmla="*/ 107 h 1542"/>
                    <a:gd name="T30" fmla="*/ 364 w 1714"/>
                    <a:gd name="T31" fmla="*/ 151 h 1542"/>
                    <a:gd name="T32" fmla="*/ 364 w 1714"/>
                    <a:gd name="T33" fmla="*/ 186 h 1542"/>
                    <a:gd name="T34" fmla="*/ 372 w 1714"/>
                    <a:gd name="T35" fmla="*/ 218 h 1542"/>
                    <a:gd name="T36" fmla="*/ 387 w 1714"/>
                    <a:gd name="T37" fmla="*/ 246 h 1542"/>
                    <a:gd name="T38" fmla="*/ 879 w 1714"/>
                    <a:gd name="T39" fmla="*/ 1026 h 1542"/>
                    <a:gd name="T40" fmla="*/ 857 w 1714"/>
                    <a:gd name="T41" fmla="*/ 730 h 1542"/>
                    <a:gd name="T42" fmla="*/ 765 w 1714"/>
                    <a:gd name="T43" fmla="*/ 722 h 1542"/>
                    <a:gd name="T44" fmla="*/ 835 w 1714"/>
                    <a:gd name="T45" fmla="*/ 773 h 1542"/>
                    <a:gd name="T46" fmla="*/ 598 w 1714"/>
                    <a:gd name="T47" fmla="*/ 1284 h 1542"/>
                    <a:gd name="T48" fmla="*/ 1116 w 1714"/>
                    <a:gd name="T49" fmla="*/ 1284 h 1542"/>
                    <a:gd name="T50" fmla="*/ 946 w 1714"/>
                    <a:gd name="T51" fmla="*/ 1352 h 1542"/>
                    <a:gd name="T52" fmla="*/ 941 w 1714"/>
                    <a:gd name="T53" fmla="*/ 1434 h 1542"/>
                    <a:gd name="T54" fmla="*/ 822 w 1714"/>
                    <a:gd name="T55" fmla="*/ 1455 h 1542"/>
                    <a:gd name="T56" fmla="*/ 814 w 1714"/>
                    <a:gd name="T57" fmla="*/ 1396 h 1542"/>
                    <a:gd name="T58" fmla="*/ 743 w 1714"/>
                    <a:gd name="T59" fmla="*/ 1358 h 1542"/>
                    <a:gd name="T60" fmla="*/ 745 w 1714"/>
                    <a:gd name="T61" fmla="*/ 1315 h 1542"/>
                    <a:gd name="T62" fmla="*/ 728 w 1714"/>
                    <a:gd name="T63" fmla="*/ 1271 h 1542"/>
                    <a:gd name="T64" fmla="*/ 743 w 1714"/>
                    <a:gd name="T65" fmla="*/ 1243 h 1542"/>
                    <a:gd name="T66" fmla="*/ 751 w 1714"/>
                    <a:gd name="T67" fmla="*/ 1211 h 1542"/>
                    <a:gd name="T68" fmla="*/ 752 w 1714"/>
                    <a:gd name="T69" fmla="*/ 1176 h 1542"/>
                    <a:gd name="T70" fmla="*/ 730 w 1714"/>
                    <a:gd name="T71" fmla="*/ 1132 h 1542"/>
                    <a:gd name="T72" fmla="*/ 991 w 1714"/>
                    <a:gd name="T73" fmla="*/ 1192 h 1542"/>
                    <a:gd name="T74" fmla="*/ 1456 w 1714"/>
                    <a:gd name="T75" fmla="*/ 0 h 1542"/>
                    <a:gd name="T76" fmla="*/ 1221 w 1714"/>
                    <a:gd name="T77" fmla="*/ 368 h 1542"/>
                    <a:gd name="T78" fmla="*/ 965 w 1714"/>
                    <a:gd name="T79" fmla="*/ 534 h 1542"/>
                    <a:gd name="T80" fmla="*/ 984 w 1714"/>
                    <a:gd name="T81" fmla="*/ 603 h 1542"/>
                    <a:gd name="T82" fmla="*/ 1028 w 1714"/>
                    <a:gd name="T83" fmla="*/ 603 h 1542"/>
                    <a:gd name="T84" fmla="*/ 1243 w 1714"/>
                    <a:gd name="T85" fmla="*/ 406 h 1542"/>
                    <a:gd name="T86" fmla="*/ 1714 w 1714"/>
                    <a:gd name="T87" fmla="*/ 259 h 1542"/>
                    <a:gd name="T88" fmla="*/ 1514 w 1714"/>
                    <a:gd name="T89" fmla="*/ 363 h 1542"/>
                    <a:gd name="T90" fmla="*/ 1509 w 1714"/>
                    <a:gd name="T91" fmla="*/ 407 h 1542"/>
                    <a:gd name="T92" fmla="*/ 1417 w 1714"/>
                    <a:gd name="T93" fmla="*/ 427 h 1542"/>
                    <a:gd name="T94" fmla="*/ 1411 w 1714"/>
                    <a:gd name="T95" fmla="*/ 363 h 1542"/>
                    <a:gd name="T96" fmla="*/ 1346 w 1714"/>
                    <a:gd name="T97" fmla="*/ 356 h 1542"/>
                    <a:gd name="T98" fmla="*/ 1339 w 1714"/>
                    <a:gd name="T99" fmla="*/ 290 h 1542"/>
                    <a:gd name="T100" fmla="*/ 1321 w 1714"/>
                    <a:gd name="T101" fmla="*/ 246 h 1542"/>
                    <a:gd name="T102" fmla="*/ 1337 w 1714"/>
                    <a:gd name="T103" fmla="*/ 191 h 1542"/>
                    <a:gd name="T104" fmla="*/ 1343 w 1714"/>
                    <a:gd name="T105" fmla="*/ 143 h 1542"/>
                    <a:gd name="T106" fmla="*/ 1582 w 1714"/>
                    <a:gd name="T107" fmla="*/ 165 h 1542"/>
                    <a:gd name="T108" fmla="*/ 857 w 1714"/>
                    <a:gd name="T109" fmla="*/ 669 h 1542"/>
                    <a:gd name="T110" fmla="*/ 857 w 1714"/>
                    <a:gd name="T111" fmla="*/ 537 h 1542"/>
                    <a:gd name="T112" fmla="*/ 857 w 1714"/>
                    <a:gd name="T113" fmla="*/ 669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14" h="1542">
                      <a:moveTo>
                        <a:pt x="803" y="462"/>
                      </a:moveTo>
                      <a:cubicBezTo>
                        <a:pt x="797" y="451"/>
                        <a:pt x="783" y="448"/>
                        <a:pt x="773" y="454"/>
                      </a:cubicBezTo>
                      <a:cubicBezTo>
                        <a:pt x="753" y="465"/>
                        <a:pt x="735" y="481"/>
                        <a:pt x="721" y="499"/>
                      </a:cubicBezTo>
                      <a:cubicBezTo>
                        <a:pt x="493" y="368"/>
                        <a:pt x="493" y="368"/>
                        <a:pt x="493" y="368"/>
                      </a:cubicBezTo>
                      <a:cubicBezTo>
                        <a:pt x="509" y="335"/>
                        <a:pt x="517" y="298"/>
                        <a:pt x="517" y="259"/>
                      </a:cubicBezTo>
                      <a:cubicBezTo>
                        <a:pt x="517" y="116"/>
                        <a:pt x="401" y="0"/>
                        <a:pt x="258" y="0"/>
                      </a:cubicBezTo>
                      <a:cubicBezTo>
                        <a:pt x="116" y="0"/>
                        <a:pt x="0" y="116"/>
                        <a:pt x="0" y="259"/>
                      </a:cubicBezTo>
                      <a:cubicBezTo>
                        <a:pt x="0" y="402"/>
                        <a:pt x="116" y="517"/>
                        <a:pt x="258" y="517"/>
                      </a:cubicBezTo>
                      <a:cubicBezTo>
                        <a:pt x="347" y="517"/>
                        <a:pt x="424" y="473"/>
                        <a:pt x="471" y="406"/>
                      </a:cubicBezTo>
                      <a:cubicBezTo>
                        <a:pt x="717" y="548"/>
                        <a:pt x="717" y="548"/>
                        <a:pt x="717" y="548"/>
                      </a:cubicBezTo>
                      <a:cubicBezTo>
                        <a:pt x="720" y="550"/>
                        <a:pt x="724" y="551"/>
                        <a:pt x="728" y="551"/>
                      </a:cubicBezTo>
                      <a:cubicBezTo>
                        <a:pt x="735" y="551"/>
                        <a:pt x="742" y="547"/>
                        <a:pt x="747" y="540"/>
                      </a:cubicBezTo>
                      <a:cubicBezTo>
                        <a:pt x="747" y="539"/>
                        <a:pt x="747" y="539"/>
                        <a:pt x="747" y="539"/>
                      </a:cubicBezTo>
                      <a:cubicBezTo>
                        <a:pt x="758" y="519"/>
                        <a:pt x="775" y="503"/>
                        <a:pt x="794" y="492"/>
                      </a:cubicBezTo>
                      <a:cubicBezTo>
                        <a:pt x="805" y="486"/>
                        <a:pt x="809" y="473"/>
                        <a:pt x="803" y="462"/>
                      </a:cubicBezTo>
                      <a:close/>
                      <a:moveTo>
                        <a:pt x="402" y="273"/>
                      </a:moveTo>
                      <a:cubicBezTo>
                        <a:pt x="400" y="277"/>
                        <a:pt x="394" y="289"/>
                        <a:pt x="371" y="290"/>
                      </a:cubicBezTo>
                      <a:cubicBezTo>
                        <a:pt x="372" y="301"/>
                        <a:pt x="374" y="319"/>
                        <a:pt x="373" y="331"/>
                      </a:cubicBezTo>
                      <a:cubicBezTo>
                        <a:pt x="373" y="333"/>
                        <a:pt x="373" y="333"/>
                        <a:pt x="373" y="333"/>
                      </a:cubicBezTo>
                      <a:cubicBezTo>
                        <a:pt x="371" y="352"/>
                        <a:pt x="371" y="363"/>
                        <a:pt x="363" y="367"/>
                      </a:cubicBezTo>
                      <a:cubicBezTo>
                        <a:pt x="356" y="370"/>
                        <a:pt x="332" y="374"/>
                        <a:pt x="301" y="371"/>
                      </a:cubicBezTo>
                      <a:cubicBezTo>
                        <a:pt x="301" y="423"/>
                        <a:pt x="301" y="423"/>
                        <a:pt x="301" y="423"/>
                      </a:cubicBezTo>
                      <a:cubicBezTo>
                        <a:pt x="301" y="427"/>
                        <a:pt x="298" y="430"/>
                        <a:pt x="294" y="430"/>
                      </a:cubicBezTo>
                      <a:cubicBezTo>
                        <a:pt x="294" y="430"/>
                        <a:pt x="294" y="430"/>
                        <a:pt x="294" y="430"/>
                      </a:cubicBezTo>
                      <a:cubicBezTo>
                        <a:pt x="289" y="430"/>
                        <a:pt x="224" y="430"/>
                        <a:pt x="174" y="409"/>
                      </a:cubicBezTo>
                      <a:cubicBezTo>
                        <a:pt x="171" y="408"/>
                        <a:pt x="169" y="405"/>
                        <a:pt x="169" y="402"/>
                      </a:cubicBezTo>
                      <a:cubicBezTo>
                        <a:pt x="169" y="327"/>
                        <a:pt x="169" y="327"/>
                        <a:pt x="169" y="327"/>
                      </a:cubicBezTo>
                      <a:cubicBezTo>
                        <a:pt x="144" y="300"/>
                        <a:pt x="93" y="234"/>
                        <a:pt x="125" y="167"/>
                      </a:cubicBezTo>
                      <a:cubicBezTo>
                        <a:pt x="142" y="130"/>
                        <a:pt x="178" y="87"/>
                        <a:pt x="251" y="87"/>
                      </a:cubicBezTo>
                      <a:cubicBezTo>
                        <a:pt x="333" y="87"/>
                        <a:pt x="309" y="108"/>
                        <a:pt x="385" y="107"/>
                      </a:cubicBezTo>
                      <a:cubicBezTo>
                        <a:pt x="393" y="107"/>
                        <a:pt x="369" y="134"/>
                        <a:pt x="365" y="150"/>
                      </a:cubicBezTo>
                      <a:cubicBezTo>
                        <a:pt x="364" y="151"/>
                        <a:pt x="364" y="151"/>
                        <a:pt x="364" y="151"/>
                      </a:cubicBezTo>
                      <a:cubicBezTo>
                        <a:pt x="363" y="152"/>
                        <a:pt x="361" y="150"/>
                        <a:pt x="360" y="151"/>
                      </a:cubicBezTo>
                      <a:cubicBezTo>
                        <a:pt x="361" y="161"/>
                        <a:pt x="362" y="179"/>
                        <a:pt x="364" y="186"/>
                      </a:cubicBezTo>
                      <a:cubicBezTo>
                        <a:pt x="366" y="192"/>
                        <a:pt x="368" y="199"/>
                        <a:pt x="369" y="205"/>
                      </a:cubicBezTo>
                      <a:cubicBezTo>
                        <a:pt x="370" y="210"/>
                        <a:pt x="371" y="215"/>
                        <a:pt x="372" y="218"/>
                      </a:cubicBezTo>
                      <a:cubicBezTo>
                        <a:pt x="376" y="229"/>
                        <a:pt x="381" y="239"/>
                        <a:pt x="385" y="243"/>
                      </a:cubicBezTo>
                      <a:cubicBezTo>
                        <a:pt x="386" y="244"/>
                        <a:pt x="386" y="245"/>
                        <a:pt x="387" y="246"/>
                      </a:cubicBezTo>
                      <a:cubicBezTo>
                        <a:pt x="396" y="255"/>
                        <a:pt x="405" y="264"/>
                        <a:pt x="402" y="273"/>
                      </a:cubicBezTo>
                      <a:close/>
                      <a:moveTo>
                        <a:pt x="879" y="1026"/>
                      </a:moveTo>
                      <a:cubicBezTo>
                        <a:pt x="879" y="752"/>
                        <a:pt x="879" y="752"/>
                        <a:pt x="879" y="752"/>
                      </a:cubicBezTo>
                      <a:cubicBezTo>
                        <a:pt x="879" y="740"/>
                        <a:pt x="869" y="730"/>
                        <a:pt x="857" y="730"/>
                      </a:cubicBezTo>
                      <a:cubicBezTo>
                        <a:pt x="835" y="730"/>
                        <a:pt x="813" y="725"/>
                        <a:pt x="794" y="714"/>
                      </a:cubicBezTo>
                      <a:cubicBezTo>
                        <a:pt x="784" y="708"/>
                        <a:pt x="770" y="712"/>
                        <a:pt x="765" y="722"/>
                      </a:cubicBezTo>
                      <a:cubicBezTo>
                        <a:pt x="759" y="733"/>
                        <a:pt x="762" y="746"/>
                        <a:pt x="773" y="752"/>
                      </a:cubicBezTo>
                      <a:cubicBezTo>
                        <a:pt x="792" y="763"/>
                        <a:pt x="813" y="770"/>
                        <a:pt x="835" y="773"/>
                      </a:cubicBezTo>
                      <a:cubicBezTo>
                        <a:pt x="835" y="1026"/>
                        <a:pt x="835" y="1026"/>
                        <a:pt x="835" y="1026"/>
                      </a:cubicBezTo>
                      <a:cubicBezTo>
                        <a:pt x="702" y="1037"/>
                        <a:pt x="598" y="1148"/>
                        <a:pt x="598" y="1284"/>
                      </a:cubicBezTo>
                      <a:cubicBezTo>
                        <a:pt x="598" y="1427"/>
                        <a:pt x="714" y="1542"/>
                        <a:pt x="857" y="1542"/>
                      </a:cubicBezTo>
                      <a:cubicBezTo>
                        <a:pt x="1000" y="1542"/>
                        <a:pt x="1116" y="1427"/>
                        <a:pt x="1116" y="1284"/>
                      </a:cubicBezTo>
                      <a:cubicBezTo>
                        <a:pt x="1116" y="1148"/>
                        <a:pt x="1012" y="1037"/>
                        <a:pt x="879" y="1026"/>
                      </a:cubicBezTo>
                      <a:close/>
                      <a:moveTo>
                        <a:pt x="946" y="1352"/>
                      </a:moveTo>
                      <a:cubicBezTo>
                        <a:pt x="946" y="1427"/>
                        <a:pt x="946" y="1427"/>
                        <a:pt x="946" y="1427"/>
                      </a:cubicBezTo>
                      <a:cubicBezTo>
                        <a:pt x="946" y="1430"/>
                        <a:pt x="944" y="1433"/>
                        <a:pt x="941" y="1434"/>
                      </a:cubicBezTo>
                      <a:cubicBezTo>
                        <a:pt x="891" y="1455"/>
                        <a:pt x="827" y="1455"/>
                        <a:pt x="822" y="1455"/>
                      </a:cubicBezTo>
                      <a:cubicBezTo>
                        <a:pt x="822" y="1455"/>
                        <a:pt x="822" y="1455"/>
                        <a:pt x="822" y="1455"/>
                      </a:cubicBezTo>
                      <a:cubicBezTo>
                        <a:pt x="817" y="1455"/>
                        <a:pt x="814" y="1452"/>
                        <a:pt x="814" y="1448"/>
                      </a:cubicBezTo>
                      <a:cubicBezTo>
                        <a:pt x="814" y="1396"/>
                        <a:pt x="814" y="1396"/>
                        <a:pt x="814" y="1396"/>
                      </a:cubicBezTo>
                      <a:cubicBezTo>
                        <a:pt x="783" y="1399"/>
                        <a:pt x="760" y="1395"/>
                        <a:pt x="753" y="1392"/>
                      </a:cubicBezTo>
                      <a:cubicBezTo>
                        <a:pt x="745" y="1388"/>
                        <a:pt x="744" y="1377"/>
                        <a:pt x="743" y="1358"/>
                      </a:cubicBezTo>
                      <a:cubicBezTo>
                        <a:pt x="743" y="1356"/>
                        <a:pt x="743" y="1356"/>
                        <a:pt x="743" y="1356"/>
                      </a:cubicBezTo>
                      <a:cubicBezTo>
                        <a:pt x="742" y="1344"/>
                        <a:pt x="743" y="1326"/>
                        <a:pt x="745" y="1315"/>
                      </a:cubicBezTo>
                      <a:cubicBezTo>
                        <a:pt x="721" y="1314"/>
                        <a:pt x="715" y="1302"/>
                        <a:pt x="714" y="1298"/>
                      </a:cubicBezTo>
                      <a:cubicBezTo>
                        <a:pt x="711" y="1289"/>
                        <a:pt x="719" y="1280"/>
                        <a:pt x="728" y="1271"/>
                      </a:cubicBezTo>
                      <a:cubicBezTo>
                        <a:pt x="729" y="1270"/>
                        <a:pt x="730" y="1269"/>
                        <a:pt x="731" y="1268"/>
                      </a:cubicBezTo>
                      <a:cubicBezTo>
                        <a:pt x="735" y="1264"/>
                        <a:pt x="739" y="1254"/>
                        <a:pt x="743" y="1243"/>
                      </a:cubicBezTo>
                      <a:cubicBezTo>
                        <a:pt x="744" y="1240"/>
                        <a:pt x="745" y="1235"/>
                        <a:pt x="746" y="1230"/>
                      </a:cubicBezTo>
                      <a:cubicBezTo>
                        <a:pt x="748" y="1224"/>
                        <a:pt x="749" y="1217"/>
                        <a:pt x="751" y="1211"/>
                      </a:cubicBezTo>
                      <a:cubicBezTo>
                        <a:pt x="753" y="1204"/>
                        <a:pt x="755" y="1186"/>
                        <a:pt x="756" y="1176"/>
                      </a:cubicBezTo>
                      <a:cubicBezTo>
                        <a:pt x="754" y="1175"/>
                        <a:pt x="752" y="1177"/>
                        <a:pt x="752" y="1176"/>
                      </a:cubicBezTo>
                      <a:cubicBezTo>
                        <a:pt x="751" y="1176"/>
                        <a:pt x="751" y="1176"/>
                        <a:pt x="751" y="1175"/>
                      </a:cubicBezTo>
                      <a:cubicBezTo>
                        <a:pt x="747" y="1159"/>
                        <a:pt x="722" y="1132"/>
                        <a:pt x="730" y="1132"/>
                      </a:cubicBezTo>
                      <a:cubicBezTo>
                        <a:pt x="807" y="1133"/>
                        <a:pt x="783" y="1112"/>
                        <a:pt x="865" y="1112"/>
                      </a:cubicBezTo>
                      <a:cubicBezTo>
                        <a:pt x="937" y="1112"/>
                        <a:pt x="973" y="1155"/>
                        <a:pt x="991" y="1192"/>
                      </a:cubicBezTo>
                      <a:cubicBezTo>
                        <a:pt x="1022" y="1259"/>
                        <a:pt x="971" y="1325"/>
                        <a:pt x="946" y="1352"/>
                      </a:cubicBezTo>
                      <a:close/>
                      <a:moveTo>
                        <a:pt x="1456" y="0"/>
                      </a:moveTo>
                      <a:cubicBezTo>
                        <a:pt x="1313" y="0"/>
                        <a:pt x="1197" y="116"/>
                        <a:pt x="1197" y="259"/>
                      </a:cubicBezTo>
                      <a:cubicBezTo>
                        <a:pt x="1197" y="298"/>
                        <a:pt x="1205" y="335"/>
                        <a:pt x="1221" y="368"/>
                      </a:cubicBezTo>
                      <a:cubicBezTo>
                        <a:pt x="975" y="509"/>
                        <a:pt x="975" y="509"/>
                        <a:pt x="975" y="509"/>
                      </a:cubicBezTo>
                      <a:cubicBezTo>
                        <a:pt x="967" y="514"/>
                        <a:pt x="963" y="525"/>
                        <a:pt x="965" y="534"/>
                      </a:cubicBezTo>
                      <a:cubicBezTo>
                        <a:pt x="966" y="536"/>
                        <a:pt x="967" y="538"/>
                        <a:pt x="968" y="540"/>
                      </a:cubicBezTo>
                      <a:cubicBezTo>
                        <a:pt x="979" y="559"/>
                        <a:pt x="984" y="581"/>
                        <a:pt x="984" y="603"/>
                      </a:cubicBezTo>
                      <a:cubicBezTo>
                        <a:pt x="984" y="615"/>
                        <a:pt x="994" y="625"/>
                        <a:pt x="1006" y="625"/>
                      </a:cubicBezTo>
                      <a:cubicBezTo>
                        <a:pt x="1018" y="625"/>
                        <a:pt x="1028" y="615"/>
                        <a:pt x="1028" y="603"/>
                      </a:cubicBezTo>
                      <a:cubicBezTo>
                        <a:pt x="1028" y="580"/>
                        <a:pt x="1024" y="558"/>
                        <a:pt x="1015" y="537"/>
                      </a:cubicBezTo>
                      <a:cubicBezTo>
                        <a:pt x="1243" y="406"/>
                        <a:pt x="1243" y="406"/>
                        <a:pt x="1243" y="406"/>
                      </a:cubicBezTo>
                      <a:cubicBezTo>
                        <a:pt x="1290" y="473"/>
                        <a:pt x="1367" y="517"/>
                        <a:pt x="1456" y="517"/>
                      </a:cubicBezTo>
                      <a:cubicBezTo>
                        <a:pt x="1598" y="517"/>
                        <a:pt x="1714" y="402"/>
                        <a:pt x="1714" y="259"/>
                      </a:cubicBezTo>
                      <a:cubicBezTo>
                        <a:pt x="1714" y="116"/>
                        <a:pt x="1598" y="0"/>
                        <a:pt x="1456" y="0"/>
                      </a:cubicBezTo>
                      <a:close/>
                      <a:moveTo>
                        <a:pt x="1514" y="363"/>
                      </a:moveTo>
                      <a:cubicBezTo>
                        <a:pt x="1512" y="401"/>
                        <a:pt x="1512" y="401"/>
                        <a:pt x="1512" y="401"/>
                      </a:cubicBezTo>
                      <a:cubicBezTo>
                        <a:pt x="1512" y="403"/>
                        <a:pt x="1511" y="405"/>
                        <a:pt x="1509" y="407"/>
                      </a:cubicBezTo>
                      <a:cubicBezTo>
                        <a:pt x="1478" y="425"/>
                        <a:pt x="1441" y="427"/>
                        <a:pt x="1425" y="427"/>
                      </a:cubicBezTo>
                      <a:cubicBezTo>
                        <a:pt x="1421" y="427"/>
                        <a:pt x="1418" y="427"/>
                        <a:pt x="1417" y="427"/>
                      </a:cubicBezTo>
                      <a:cubicBezTo>
                        <a:pt x="1414" y="426"/>
                        <a:pt x="1411" y="423"/>
                        <a:pt x="1411" y="419"/>
                      </a:cubicBezTo>
                      <a:cubicBezTo>
                        <a:pt x="1411" y="363"/>
                        <a:pt x="1411" y="363"/>
                        <a:pt x="1411" y="363"/>
                      </a:cubicBezTo>
                      <a:cubicBezTo>
                        <a:pt x="1403" y="363"/>
                        <a:pt x="1392" y="364"/>
                        <a:pt x="1388" y="364"/>
                      </a:cubicBezTo>
                      <a:cubicBezTo>
                        <a:pt x="1358" y="364"/>
                        <a:pt x="1350" y="360"/>
                        <a:pt x="1346" y="356"/>
                      </a:cubicBezTo>
                      <a:cubicBezTo>
                        <a:pt x="1342" y="352"/>
                        <a:pt x="1338" y="344"/>
                        <a:pt x="1339" y="313"/>
                      </a:cubicBezTo>
                      <a:cubicBezTo>
                        <a:pt x="1339" y="304"/>
                        <a:pt x="1339" y="295"/>
                        <a:pt x="1339" y="290"/>
                      </a:cubicBezTo>
                      <a:cubicBezTo>
                        <a:pt x="1320" y="289"/>
                        <a:pt x="1311" y="280"/>
                        <a:pt x="1308" y="274"/>
                      </a:cubicBezTo>
                      <a:cubicBezTo>
                        <a:pt x="1305" y="266"/>
                        <a:pt x="1314" y="253"/>
                        <a:pt x="1321" y="246"/>
                      </a:cubicBezTo>
                      <a:cubicBezTo>
                        <a:pt x="1327" y="240"/>
                        <a:pt x="1332" y="231"/>
                        <a:pt x="1335" y="224"/>
                      </a:cubicBezTo>
                      <a:cubicBezTo>
                        <a:pt x="1337" y="220"/>
                        <a:pt x="1338" y="202"/>
                        <a:pt x="1337" y="191"/>
                      </a:cubicBezTo>
                      <a:cubicBezTo>
                        <a:pt x="1335" y="170"/>
                        <a:pt x="1345" y="157"/>
                        <a:pt x="1348" y="152"/>
                      </a:cubicBezTo>
                      <a:cubicBezTo>
                        <a:pt x="1347" y="149"/>
                        <a:pt x="1345" y="146"/>
                        <a:pt x="1343" y="143"/>
                      </a:cubicBezTo>
                      <a:cubicBezTo>
                        <a:pt x="1339" y="127"/>
                        <a:pt x="1373" y="90"/>
                        <a:pt x="1453" y="90"/>
                      </a:cubicBezTo>
                      <a:cubicBezTo>
                        <a:pt x="1523" y="90"/>
                        <a:pt x="1565" y="128"/>
                        <a:pt x="1582" y="165"/>
                      </a:cubicBezTo>
                      <a:cubicBezTo>
                        <a:pt x="1641" y="286"/>
                        <a:pt x="1563" y="344"/>
                        <a:pt x="1514" y="363"/>
                      </a:cubicBezTo>
                      <a:close/>
                      <a:moveTo>
                        <a:pt x="857" y="669"/>
                      </a:moveTo>
                      <a:cubicBezTo>
                        <a:pt x="821" y="669"/>
                        <a:pt x="791" y="639"/>
                        <a:pt x="791" y="603"/>
                      </a:cubicBezTo>
                      <a:cubicBezTo>
                        <a:pt x="791" y="567"/>
                        <a:pt x="821" y="537"/>
                        <a:pt x="857" y="537"/>
                      </a:cubicBezTo>
                      <a:cubicBezTo>
                        <a:pt x="893" y="537"/>
                        <a:pt x="923" y="567"/>
                        <a:pt x="923" y="603"/>
                      </a:cubicBezTo>
                      <a:cubicBezTo>
                        <a:pt x="923" y="639"/>
                        <a:pt x="893" y="669"/>
                        <a:pt x="857" y="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26">
                  <a:extLst>
                    <a:ext uri="{FF2B5EF4-FFF2-40B4-BE49-F238E27FC236}">
                      <a16:creationId xmlns:a16="http://schemas.microsoft.com/office/drawing/2014/main" id="{BAE75992-CD0C-4BA8-AC17-3501DDE4EA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55525" y="2801969"/>
                  <a:ext cx="1522662" cy="1371819"/>
                </a:xfrm>
                <a:custGeom>
                  <a:avLst/>
                  <a:gdLst>
                    <a:gd name="T0" fmla="*/ 857 w 1714"/>
                    <a:gd name="T1" fmla="*/ 0 h 1542"/>
                    <a:gd name="T2" fmla="*/ 835 w 1714"/>
                    <a:gd name="T3" fmla="*/ 516 h 1542"/>
                    <a:gd name="T4" fmla="*/ 857 w 1714"/>
                    <a:gd name="T5" fmla="*/ 812 h 1542"/>
                    <a:gd name="T6" fmla="*/ 923 w 1714"/>
                    <a:gd name="T7" fmla="*/ 827 h 1542"/>
                    <a:gd name="T8" fmla="*/ 933 w 1714"/>
                    <a:gd name="T9" fmla="*/ 785 h 1542"/>
                    <a:gd name="T10" fmla="*/ 879 w 1714"/>
                    <a:gd name="T11" fmla="*/ 516 h 1542"/>
                    <a:gd name="T12" fmla="*/ 773 w 1714"/>
                    <a:gd name="T13" fmla="*/ 409 h 1542"/>
                    <a:gd name="T14" fmla="*/ 768 w 1714"/>
                    <a:gd name="T15" fmla="*/ 326 h 1542"/>
                    <a:gd name="T16" fmla="*/ 849 w 1714"/>
                    <a:gd name="T17" fmla="*/ 87 h 1542"/>
                    <a:gd name="T18" fmla="*/ 963 w 1714"/>
                    <a:gd name="T19" fmla="*/ 150 h 1542"/>
                    <a:gd name="T20" fmla="*/ 958 w 1714"/>
                    <a:gd name="T21" fmla="*/ 150 h 1542"/>
                    <a:gd name="T22" fmla="*/ 968 w 1714"/>
                    <a:gd name="T23" fmla="*/ 205 h 1542"/>
                    <a:gd name="T24" fmla="*/ 983 w 1714"/>
                    <a:gd name="T25" fmla="*/ 243 h 1542"/>
                    <a:gd name="T26" fmla="*/ 1000 w 1714"/>
                    <a:gd name="T27" fmla="*/ 273 h 1542"/>
                    <a:gd name="T28" fmla="*/ 971 w 1714"/>
                    <a:gd name="T29" fmla="*/ 331 h 1542"/>
                    <a:gd name="T30" fmla="*/ 961 w 1714"/>
                    <a:gd name="T31" fmla="*/ 367 h 1542"/>
                    <a:gd name="T32" fmla="*/ 900 w 1714"/>
                    <a:gd name="T33" fmla="*/ 423 h 1542"/>
                    <a:gd name="T34" fmla="*/ 892 w 1714"/>
                    <a:gd name="T35" fmla="*/ 430 h 1542"/>
                    <a:gd name="T36" fmla="*/ 1456 w 1714"/>
                    <a:gd name="T37" fmla="*/ 1025 h 1542"/>
                    <a:gd name="T38" fmla="*/ 997 w 1714"/>
                    <a:gd name="T39" fmla="*/ 994 h 1542"/>
                    <a:gd name="T40" fmla="*/ 967 w 1714"/>
                    <a:gd name="T41" fmla="*/ 1003 h 1542"/>
                    <a:gd name="T42" fmla="*/ 918 w 1714"/>
                    <a:gd name="T43" fmla="*/ 1077 h 1542"/>
                    <a:gd name="T44" fmla="*/ 993 w 1714"/>
                    <a:gd name="T45" fmla="*/ 1043 h 1542"/>
                    <a:gd name="T46" fmla="*/ 1197 w 1714"/>
                    <a:gd name="T47" fmla="*/ 1283 h 1542"/>
                    <a:gd name="T48" fmla="*/ 1714 w 1714"/>
                    <a:gd name="T49" fmla="*/ 1283 h 1542"/>
                    <a:gd name="T50" fmla="*/ 1545 w 1714"/>
                    <a:gd name="T51" fmla="*/ 1351 h 1542"/>
                    <a:gd name="T52" fmla="*/ 1540 w 1714"/>
                    <a:gd name="T53" fmla="*/ 1434 h 1542"/>
                    <a:gd name="T54" fmla="*/ 1420 w 1714"/>
                    <a:gd name="T55" fmla="*/ 1455 h 1542"/>
                    <a:gd name="T56" fmla="*/ 1413 w 1714"/>
                    <a:gd name="T57" fmla="*/ 1395 h 1542"/>
                    <a:gd name="T58" fmla="*/ 1341 w 1714"/>
                    <a:gd name="T59" fmla="*/ 1358 h 1542"/>
                    <a:gd name="T60" fmla="*/ 1343 w 1714"/>
                    <a:gd name="T61" fmla="*/ 1315 h 1542"/>
                    <a:gd name="T62" fmla="*/ 1327 w 1714"/>
                    <a:gd name="T63" fmla="*/ 1271 h 1542"/>
                    <a:gd name="T64" fmla="*/ 1342 w 1714"/>
                    <a:gd name="T65" fmla="*/ 1243 h 1542"/>
                    <a:gd name="T66" fmla="*/ 1350 w 1714"/>
                    <a:gd name="T67" fmla="*/ 1211 h 1542"/>
                    <a:gd name="T68" fmla="*/ 1350 w 1714"/>
                    <a:gd name="T69" fmla="*/ 1176 h 1542"/>
                    <a:gd name="T70" fmla="*/ 1329 w 1714"/>
                    <a:gd name="T71" fmla="*/ 1131 h 1542"/>
                    <a:gd name="T72" fmla="*/ 1589 w 1714"/>
                    <a:gd name="T73" fmla="*/ 1192 h 1542"/>
                    <a:gd name="T74" fmla="*/ 748 w 1714"/>
                    <a:gd name="T75" fmla="*/ 1006 h 1542"/>
                    <a:gd name="T76" fmla="*/ 730 w 1714"/>
                    <a:gd name="T77" fmla="*/ 939 h 1542"/>
                    <a:gd name="T78" fmla="*/ 686 w 1714"/>
                    <a:gd name="T79" fmla="*/ 939 h 1542"/>
                    <a:gd name="T80" fmla="*/ 471 w 1714"/>
                    <a:gd name="T81" fmla="*/ 1136 h 1542"/>
                    <a:gd name="T82" fmla="*/ 0 w 1714"/>
                    <a:gd name="T83" fmla="*/ 1283 h 1542"/>
                    <a:gd name="T84" fmla="*/ 517 w 1714"/>
                    <a:gd name="T85" fmla="*/ 1283 h 1542"/>
                    <a:gd name="T86" fmla="*/ 739 w 1714"/>
                    <a:gd name="T87" fmla="*/ 1033 h 1542"/>
                    <a:gd name="T88" fmla="*/ 406 w 1714"/>
                    <a:gd name="T89" fmla="*/ 1299 h 1542"/>
                    <a:gd name="T90" fmla="*/ 375 w 1714"/>
                    <a:gd name="T91" fmla="*/ 1337 h 1542"/>
                    <a:gd name="T92" fmla="*/ 326 w 1714"/>
                    <a:gd name="T93" fmla="*/ 1388 h 1542"/>
                    <a:gd name="T94" fmla="*/ 303 w 1714"/>
                    <a:gd name="T95" fmla="*/ 1444 h 1542"/>
                    <a:gd name="T96" fmla="*/ 289 w 1714"/>
                    <a:gd name="T97" fmla="*/ 1452 h 1542"/>
                    <a:gd name="T98" fmla="*/ 202 w 1714"/>
                    <a:gd name="T99" fmla="*/ 1425 h 1542"/>
                    <a:gd name="T100" fmla="*/ 132 w 1714"/>
                    <a:gd name="T101" fmla="*/ 1189 h 1542"/>
                    <a:gd name="T102" fmla="*/ 371 w 1714"/>
                    <a:gd name="T103" fmla="*/ 1168 h 1542"/>
                    <a:gd name="T104" fmla="*/ 377 w 1714"/>
                    <a:gd name="T105" fmla="*/ 1216 h 1542"/>
                    <a:gd name="T106" fmla="*/ 393 w 1714"/>
                    <a:gd name="T107" fmla="*/ 1271 h 1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14" h="1542">
                      <a:moveTo>
                        <a:pt x="1116" y="258"/>
                      </a:moveTo>
                      <a:cubicBezTo>
                        <a:pt x="1116" y="115"/>
                        <a:pt x="1000" y="0"/>
                        <a:pt x="857" y="0"/>
                      </a:cubicBezTo>
                      <a:cubicBezTo>
                        <a:pt x="714" y="0"/>
                        <a:pt x="598" y="115"/>
                        <a:pt x="598" y="258"/>
                      </a:cubicBezTo>
                      <a:cubicBezTo>
                        <a:pt x="598" y="394"/>
                        <a:pt x="702" y="505"/>
                        <a:pt x="835" y="516"/>
                      </a:cubicBezTo>
                      <a:cubicBezTo>
                        <a:pt x="835" y="790"/>
                        <a:pt x="835" y="790"/>
                        <a:pt x="835" y="790"/>
                      </a:cubicBezTo>
                      <a:cubicBezTo>
                        <a:pt x="835" y="802"/>
                        <a:pt x="845" y="812"/>
                        <a:pt x="857" y="812"/>
                      </a:cubicBezTo>
                      <a:cubicBezTo>
                        <a:pt x="877" y="812"/>
                        <a:pt x="896" y="816"/>
                        <a:pt x="913" y="825"/>
                      </a:cubicBezTo>
                      <a:cubicBezTo>
                        <a:pt x="916" y="826"/>
                        <a:pt x="920" y="827"/>
                        <a:pt x="923" y="827"/>
                      </a:cubicBezTo>
                      <a:cubicBezTo>
                        <a:pt x="931" y="827"/>
                        <a:pt x="939" y="823"/>
                        <a:pt x="943" y="815"/>
                      </a:cubicBezTo>
                      <a:cubicBezTo>
                        <a:pt x="948" y="804"/>
                        <a:pt x="944" y="791"/>
                        <a:pt x="933" y="785"/>
                      </a:cubicBezTo>
                      <a:cubicBezTo>
                        <a:pt x="916" y="777"/>
                        <a:pt x="898" y="771"/>
                        <a:pt x="879" y="769"/>
                      </a:cubicBezTo>
                      <a:cubicBezTo>
                        <a:pt x="879" y="516"/>
                        <a:pt x="879" y="516"/>
                        <a:pt x="879" y="516"/>
                      </a:cubicBezTo>
                      <a:cubicBezTo>
                        <a:pt x="1012" y="505"/>
                        <a:pt x="1116" y="394"/>
                        <a:pt x="1116" y="258"/>
                      </a:cubicBezTo>
                      <a:close/>
                      <a:moveTo>
                        <a:pt x="773" y="409"/>
                      </a:moveTo>
                      <a:cubicBezTo>
                        <a:pt x="770" y="408"/>
                        <a:pt x="768" y="405"/>
                        <a:pt x="768" y="402"/>
                      </a:cubicBezTo>
                      <a:cubicBezTo>
                        <a:pt x="768" y="326"/>
                        <a:pt x="768" y="326"/>
                        <a:pt x="768" y="326"/>
                      </a:cubicBezTo>
                      <a:cubicBezTo>
                        <a:pt x="743" y="300"/>
                        <a:pt x="692" y="234"/>
                        <a:pt x="723" y="167"/>
                      </a:cubicBezTo>
                      <a:cubicBezTo>
                        <a:pt x="741" y="130"/>
                        <a:pt x="777" y="87"/>
                        <a:pt x="849" y="87"/>
                      </a:cubicBezTo>
                      <a:cubicBezTo>
                        <a:pt x="931" y="87"/>
                        <a:pt x="907" y="108"/>
                        <a:pt x="984" y="106"/>
                      </a:cubicBezTo>
                      <a:cubicBezTo>
                        <a:pt x="992" y="106"/>
                        <a:pt x="967" y="133"/>
                        <a:pt x="963" y="150"/>
                      </a:cubicBezTo>
                      <a:cubicBezTo>
                        <a:pt x="963" y="151"/>
                        <a:pt x="963" y="151"/>
                        <a:pt x="962" y="151"/>
                      </a:cubicBezTo>
                      <a:cubicBezTo>
                        <a:pt x="962" y="151"/>
                        <a:pt x="960" y="150"/>
                        <a:pt x="958" y="150"/>
                      </a:cubicBezTo>
                      <a:cubicBezTo>
                        <a:pt x="959" y="160"/>
                        <a:pt x="961" y="179"/>
                        <a:pt x="963" y="186"/>
                      </a:cubicBezTo>
                      <a:cubicBezTo>
                        <a:pt x="965" y="191"/>
                        <a:pt x="966" y="198"/>
                        <a:pt x="968" y="205"/>
                      </a:cubicBezTo>
                      <a:cubicBezTo>
                        <a:pt x="969" y="210"/>
                        <a:pt x="970" y="215"/>
                        <a:pt x="971" y="218"/>
                      </a:cubicBezTo>
                      <a:cubicBezTo>
                        <a:pt x="975" y="229"/>
                        <a:pt x="979" y="238"/>
                        <a:pt x="983" y="243"/>
                      </a:cubicBezTo>
                      <a:cubicBezTo>
                        <a:pt x="984" y="244"/>
                        <a:pt x="985" y="245"/>
                        <a:pt x="986" y="246"/>
                      </a:cubicBezTo>
                      <a:cubicBezTo>
                        <a:pt x="995" y="255"/>
                        <a:pt x="1003" y="264"/>
                        <a:pt x="1000" y="273"/>
                      </a:cubicBezTo>
                      <a:cubicBezTo>
                        <a:pt x="999" y="277"/>
                        <a:pt x="993" y="289"/>
                        <a:pt x="969" y="290"/>
                      </a:cubicBezTo>
                      <a:cubicBezTo>
                        <a:pt x="971" y="300"/>
                        <a:pt x="972" y="319"/>
                        <a:pt x="971" y="331"/>
                      </a:cubicBezTo>
                      <a:cubicBezTo>
                        <a:pt x="971" y="333"/>
                        <a:pt x="971" y="333"/>
                        <a:pt x="971" y="333"/>
                      </a:cubicBezTo>
                      <a:cubicBezTo>
                        <a:pt x="970" y="352"/>
                        <a:pt x="969" y="362"/>
                        <a:pt x="961" y="367"/>
                      </a:cubicBezTo>
                      <a:cubicBezTo>
                        <a:pt x="954" y="370"/>
                        <a:pt x="931" y="373"/>
                        <a:pt x="900" y="370"/>
                      </a:cubicBezTo>
                      <a:cubicBezTo>
                        <a:pt x="900" y="423"/>
                        <a:pt x="900" y="423"/>
                        <a:pt x="900" y="423"/>
                      </a:cubicBezTo>
                      <a:cubicBezTo>
                        <a:pt x="900" y="427"/>
                        <a:pt x="897" y="430"/>
                        <a:pt x="892" y="430"/>
                      </a:cubicBezTo>
                      <a:cubicBezTo>
                        <a:pt x="892" y="430"/>
                        <a:pt x="892" y="430"/>
                        <a:pt x="892" y="430"/>
                      </a:cubicBezTo>
                      <a:cubicBezTo>
                        <a:pt x="887" y="430"/>
                        <a:pt x="823" y="430"/>
                        <a:pt x="773" y="409"/>
                      </a:cubicBezTo>
                      <a:close/>
                      <a:moveTo>
                        <a:pt x="1456" y="1025"/>
                      </a:moveTo>
                      <a:cubicBezTo>
                        <a:pt x="1367" y="1025"/>
                        <a:pt x="1290" y="1069"/>
                        <a:pt x="1243" y="1136"/>
                      </a:cubicBezTo>
                      <a:cubicBezTo>
                        <a:pt x="997" y="994"/>
                        <a:pt x="997" y="994"/>
                        <a:pt x="997" y="994"/>
                      </a:cubicBezTo>
                      <a:cubicBezTo>
                        <a:pt x="987" y="988"/>
                        <a:pt x="974" y="992"/>
                        <a:pt x="967" y="1002"/>
                      </a:cubicBezTo>
                      <a:cubicBezTo>
                        <a:pt x="967" y="1003"/>
                        <a:pt x="967" y="1003"/>
                        <a:pt x="967" y="1003"/>
                      </a:cubicBezTo>
                      <a:cubicBezTo>
                        <a:pt x="957" y="1021"/>
                        <a:pt x="942" y="1036"/>
                        <a:pt x="925" y="1047"/>
                      </a:cubicBezTo>
                      <a:cubicBezTo>
                        <a:pt x="914" y="1053"/>
                        <a:pt x="911" y="1067"/>
                        <a:pt x="918" y="1077"/>
                      </a:cubicBezTo>
                      <a:cubicBezTo>
                        <a:pt x="924" y="1088"/>
                        <a:pt x="938" y="1091"/>
                        <a:pt x="948" y="1084"/>
                      </a:cubicBezTo>
                      <a:cubicBezTo>
                        <a:pt x="965" y="1073"/>
                        <a:pt x="981" y="1059"/>
                        <a:pt x="993" y="1043"/>
                      </a:cubicBezTo>
                      <a:cubicBezTo>
                        <a:pt x="1221" y="1174"/>
                        <a:pt x="1221" y="1174"/>
                        <a:pt x="1221" y="1174"/>
                      </a:cubicBezTo>
                      <a:cubicBezTo>
                        <a:pt x="1205" y="1207"/>
                        <a:pt x="1197" y="1244"/>
                        <a:pt x="1197" y="1283"/>
                      </a:cubicBezTo>
                      <a:cubicBezTo>
                        <a:pt x="1197" y="1426"/>
                        <a:pt x="1313" y="1542"/>
                        <a:pt x="1456" y="1542"/>
                      </a:cubicBezTo>
                      <a:cubicBezTo>
                        <a:pt x="1598" y="1542"/>
                        <a:pt x="1714" y="1426"/>
                        <a:pt x="1714" y="1283"/>
                      </a:cubicBezTo>
                      <a:cubicBezTo>
                        <a:pt x="1714" y="1140"/>
                        <a:pt x="1598" y="1025"/>
                        <a:pt x="1456" y="1025"/>
                      </a:cubicBezTo>
                      <a:close/>
                      <a:moveTo>
                        <a:pt x="1545" y="1351"/>
                      </a:moveTo>
                      <a:cubicBezTo>
                        <a:pt x="1545" y="1427"/>
                        <a:pt x="1545" y="1427"/>
                        <a:pt x="1545" y="1427"/>
                      </a:cubicBezTo>
                      <a:cubicBezTo>
                        <a:pt x="1545" y="1430"/>
                        <a:pt x="1543" y="1433"/>
                        <a:pt x="1540" y="1434"/>
                      </a:cubicBezTo>
                      <a:cubicBezTo>
                        <a:pt x="1490" y="1455"/>
                        <a:pt x="1425" y="1455"/>
                        <a:pt x="1420" y="1455"/>
                      </a:cubicBezTo>
                      <a:cubicBezTo>
                        <a:pt x="1420" y="1455"/>
                        <a:pt x="1420" y="1455"/>
                        <a:pt x="1420" y="1455"/>
                      </a:cubicBezTo>
                      <a:cubicBezTo>
                        <a:pt x="1416" y="1455"/>
                        <a:pt x="1413" y="1452"/>
                        <a:pt x="1413" y="1448"/>
                      </a:cubicBezTo>
                      <a:cubicBezTo>
                        <a:pt x="1413" y="1395"/>
                        <a:pt x="1413" y="1395"/>
                        <a:pt x="1413" y="1395"/>
                      </a:cubicBezTo>
                      <a:cubicBezTo>
                        <a:pt x="1382" y="1398"/>
                        <a:pt x="1358" y="1395"/>
                        <a:pt x="1351" y="1392"/>
                      </a:cubicBezTo>
                      <a:cubicBezTo>
                        <a:pt x="1343" y="1387"/>
                        <a:pt x="1343" y="1377"/>
                        <a:pt x="1341" y="1358"/>
                      </a:cubicBezTo>
                      <a:cubicBezTo>
                        <a:pt x="1341" y="1356"/>
                        <a:pt x="1341" y="1356"/>
                        <a:pt x="1341" y="1356"/>
                      </a:cubicBezTo>
                      <a:cubicBezTo>
                        <a:pt x="1340" y="1344"/>
                        <a:pt x="1342" y="1325"/>
                        <a:pt x="1343" y="1315"/>
                      </a:cubicBezTo>
                      <a:cubicBezTo>
                        <a:pt x="1320" y="1314"/>
                        <a:pt x="1314" y="1302"/>
                        <a:pt x="1312" y="1298"/>
                      </a:cubicBezTo>
                      <a:cubicBezTo>
                        <a:pt x="1309" y="1289"/>
                        <a:pt x="1318" y="1280"/>
                        <a:pt x="1327" y="1271"/>
                      </a:cubicBezTo>
                      <a:cubicBezTo>
                        <a:pt x="1328" y="1270"/>
                        <a:pt x="1328" y="1269"/>
                        <a:pt x="1329" y="1268"/>
                      </a:cubicBezTo>
                      <a:cubicBezTo>
                        <a:pt x="1333" y="1263"/>
                        <a:pt x="1338" y="1254"/>
                        <a:pt x="1342" y="1243"/>
                      </a:cubicBezTo>
                      <a:cubicBezTo>
                        <a:pt x="1343" y="1240"/>
                        <a:pt x="1344" y="1235"/>
                        <a:pt x="1345" y="1230"/>
                      </a:cubicBezTo>
                      <a:cubicBezTo>
                        <a:pt x="1346" y="1223"/>
                        <a:pt x="1348" y="1216"/>
                        <a:pt x="1350" y="1211"/>
                      </a:cubicBezTo>
                      <a:cubicBezTo>
                        <a:pt x="1352" y="1204"/>
                        <a:pt x="1353" y="1185"/>
                        <a:pt x="1354" y="1175"/>
                      </a:cubicBezTo>
                      <a:cubicBezTo>
                        <a:pt x="1353" y="1175"/>
                        <a:pt x="1351" y="1176"/>
                        <a:pt x="1350" y="1176"/>
                      </a:cubicBezTo>
                      <a:cubicBezTo>
                        <a:pt x="1350" y="1176"/>
                        <a:pt x="1350" y="1176"/>
                        <a:pt x="1349" y="1175"/>
                      </a:cubicBezTo>
                      <a:cubicBezTo>
                        <a:pt x="1345" y="1158"/>
                        <a:pt x="1321" y="1131"/>
                        <a:pt x="1329" y="1131"/>
                      </a:cubicBezTo>
                      <a:cubicBezTo>
                        <a:pt x="1405" y="1133"/>
                        <a:pt x="1381" y="1112"/>
                        <a:pt x="1463" y="1112"/>
                      </a:cubicBezTo>
                      <a:cubicBezTo>
                        <a:pt x="1536" y="1112"/>
                        <a:pt x="1572" y="1155"/>
                        <a:pt x="1589" y="1192"/>
                      </a:cubicBezTo>
                      <a:cubicBezTo>
                        <a:pt x="1621" y="1259"/>
                        <a:pt x="1570" y="1325"/>
                        <a:pt x="1545" y="1351"/>
                      </a:cubicBezTo>
                      <a:close/>
                      <a:moveTo>
                        <a:pt x="748" y="1006"/>
                      </a:moveTo>
                      <a:cubicBezTo>
                        <a:pt x="748" y="1004"/>
                        <a:pt x="747" y="1003"/>
                        <a:pt x="746" y="1002"/>
                      </a:cubicBezTo>
                      <a:cubicBezTo>
                        <a:pt x="735" y="983"/>
                        <a:pt x="730" y="961"/>
                        <a:pt x="730" y="939"/>
                      </a:cubicBezTo>
                      <a:cubicBezTo>
                        <a:pt x="730" y="927"/>
                        <a:pt x="720" y="917"/>
                        <a:pt x="708" y="917"/>
                      </a:cubicBezTo>
                      <a:cubicBezTo>
                        <a:pt x="696" y="917"/>
                        <a:pt x="686" y="927"/>
                        <a:pt x="686" y="939"/>
                      </a:cubicBezTo>
                      <a:cubicBezTo>
                        <a:pt x="686" y="962"/>
                        <a:pt x="690" y="984"/>
                        <a:pt x="699" y="1005"/>
                      </a:cubicBezTo>
                      <a:cubicBezTo>
                        <a:pt x="471" y="1136"/>
                        <a:pt x="471" y="1136"/>
                        <a:pt x="471" y="1136"/>
                      </a:cubicBezTo>
                      <a:cubicBezTo>
                        <a:pt x="424" y="1069"/>
                        <a:pt x="347" y="1025"/>
                        <a:pt x="258" y="1025"/>
                      </a:cubicBezTo>
                      <a:cubicBezTo>
                        <a:pt x="116" y="1025"/>
                        <a:pt x="0" y="1140"/>
                        <a:pt x="0" y="1283"/>
                      </a:cubicBezTo>
                      <a:cubicBezTo>
                        <a:pt x="0" y="1426"/>
                        <a:pt x="116" y="1542"/>
                        <a:pt x="258" y="1542"/>
                      </a:cubicBezTo>
                      <a:cubicBezTo>
                        <a:pt x="401" y="1542"/>
                        <a:pt x="517" y="1426"/>
                        <a:pt x="517" y="1283"/>
                      </a:cubicBezTo>
                      <a:cubicBezTo>
                        <a:pt x="517" y="1244"/>
                        <a:pt x="509" y="1207"/>
                        <a:pt x="493" y="1174"/>
                      </a:cubicBezTo>
                      <a:cubicBezTo>
                        <a:pt x="739" y="1033"/>
                        <a:pt x="739" y="1033"/>
                        <a:pt x="739" y="1033"/>
                      </a:cubicBezTo>
                      <a:cubicBezTo>
                        <a:pt x="748" y="1027"/>
                        <a:pt x="752" y="1016"/>
                        <a:pt x="748" y="1006"/>
                      </a:cubicBezTo>
                      <a:close/>
                      <a:moveTo>
                        <a:pt x="406" y="1299"/>
                      </a:moveTo>
                      <a:cubicBezTo>
                        <a:pt x="403" y="1305"/>
                        <a:pt x="394" y="1314"/>
                        <a:pt x="375" y="1314"/>
                      </a:cubicBezTo>
                      <a:cubicBezTo>
                        <a:pt x="375" y="1320"/>
                        <a:pt x="375" y="1329"/>
                        <a:pt x="375" y="1337"/>
                      </a:cubicBezTo>
                      <a:cubicBezTo>
                        <a:pt x="376" y="1368"/>
                        <a:pt x="372" y="1377"/>
                        <a:pt x="368" y="1381"/>
                      </a:cubicBezTo>
                      <a:cubicBezTo>
                        <a:pt x="364" y="1384"/>
                        <a:pt x="356" y="1389"/>
                        <a:pt x="326" y="1388"/>
                      </a:cubicBezTo>
                      <a:cubicBezTo>
                        <a:pt x="322" y="1388"/>
                        <a:pt x="311" y="1388"/>
                        <a:pt x="303" y="1387"/>
                      </a:cubicBezTo>
                      <a:cubicBezTo>
                        <a:pt x="303" y="1444"/>
                        <a:pt x="303" y="1444"/>
                        <a:pt x="303" y="1444"/>
                      </a:cubicBezTo>
                      <a:cubicBezTo>
                        <a:pt x="303" y="1448"/>
                        <a:pt x="300" y="1451"/>
                        <a:pt x="297" y="1451"/>
                      </a:cubicBezTo>
                      <a:cubicBezTo>
                        <a:pt x="296" y="1451"/>
                        <a:pt x="293" y="1452"/>
                        <a:pt x="289" y="1452"/>
                      </a:cubicBezTo>
                      <a:cubicBezTo>
                        <a:pt x="273" y="1452"/>
                        <a:pt x="236" y="1449"/>
                        <a:pt x="205" y="1431"/>
                      </a:cubicBezTo>
                      <a:cubicBezTo>
                        <a:pt x="203" y="1430"/>
                        <a:pt x="202" y="1428"/>
                        <a:pt x="202" y="1425"/>
                      </a:cubicBezTo>
                      <a:cubicBezTo>
                        <a:pt x="200" y="1388"/>
                        <a:pt x="200" y="1388"/>
                        <a:pt x="200" y="1388"/>
                      </a:cubicBezTo>
                      <a:cubicBezTo>
                        <a:pt x="151" y="1368"/>
                        <a:pt x="73" y="1311"/>
                        <a:pt x="132" y="1189"/>
                      </a:cubicBezTo>
                      <a:cubicBezTo>
                        <a:pt x="149" y="1153"/>
                        <a:pt x="191" y="1115"/>
                        <a:pt x="261" y="1115"/>
                      </a:cubicBezTo>
                      <a:cubicBezTo>
                        <a:pt x="341" y="1115"/>
                        <a:pt x="375" y="1152"/>
                        <a:pt x="371" y="1168"/>
                      </a:cubicBezTo>
                      <a:cubicBezTo>
                        <a:pt x="369" y="1171"/>
                        <a:pt x="367" y="1174"/>
                        <a:pt x="366" y="1177"/>
                      </a:cubicBezTo>
                      <a:cubicBezTo>
                        <a:pt x="369" y="1182"/>
                        <a:pt x="379" y="1195"/>
                        <a:pt x="377" y="1216"/>
                      </a:cubicBezTo>
                      <a:cubicBezTo>
                        <a:pt x="376" y="1226"/>
                        <a:pt x="377" y="1245"/>
                        <a:pt x="379" y="1248"/>
                      </a:cubicBezTo>
                      <a:cubicBezTo>
                        <a:pt x="382" y="1255"/>
                        <a:pt x="387" y="1265"/>
                        <a:pt x="393" y="1271"/>
                      </a:cubicBezTo>
                      <a:cubicBezTo>
                        <a:pt x="400" y="1278"/>
                        <a:pt x="409" y="1291"/>
                        <a:pt x="406" y="12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5766050-EB44-41E2-89F8-1182A6317D59}"/>
              </a:ext>
            </a:extLst>
          </p:cNvPr>
          <p:cNvCxnSpPr/>
          <p:nvPr/>
        </p:nvCxnSpPr>
        <p:spPr>
          <a:xfrm>
            <a:off x="3466916" y="3908470"/>
            <a:ext cx="8436607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FB0E63FB-2934-4EDB-93D0-32F372838486}"/>
              </a:ext>
            </a:extLst>
          </p:cNvPr>
          <p:cNvCxnSpPr/>
          <p:nvPr/>
        </p:nvCxnSpPr>
        <p:spPr>
          <a:xfrm>
            <a:off x="3466914" y="2278360"/>
            <a:ext cx="8436607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136767A-1CFC-4066-8C01-B86F0444FD96}"/>
              </a:ext>
            </a:extLst>
          </p:cNvPr>
          <p:cNvGrpSpPr/>
          <p:nvPr/>
        </p:nvGrpSpPr>
        <p:grpSpPr>
          <a:xfrm>
            <a:off x="-1" y="1445448"/>
            <a:ext cx="3361060" cy="738664"/>
            <a:chOff x="-1" y="1445448"/>
            <a:chExt cx="3361060" cy="738664"/>
          </a:xfrm>
        </p:grpSpPr>
        <p:sp>
          <p:nvSpPr>
            <p:cNvPr id="39" name="Rectangle: Top Corners Rounded 38">
              <a:extLst>
                <a:ext uri="{FF2B5EF4-FFF2-40B4-BE49-F238E27FC236}">
                  <a16:creationId xmlns:a16="http://schemas.microsoft.com/office/drawing/2014/main" id="{D8CA87E7-6612-41FA-9E45-B84963D20E49}"/>
                </a:ext>
              </a:extLst>
            </p:cNvPr>
            <p:cNvSpPr/>
            <p:nvPr/>
          </p:nvSpPr>
          <p:spPr>
            <a:xfrm rot="5400000">
              <a:off x="1311197" y="134250"/>
              <a:ext cx="738663" cy="3361060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  <p:sp>
          <p:nvSpPr>
            <p:cNvPr id="40" name="ee4pHeader1">
              <a:extLst>
                <a:ext uri="{FF2B5EF4-FFF2-40B4-BE49-F238E27FC236}">
                  <a16:creationId xmlns:a16="http://schemas.microsoft.com/office/drawing/2014/main" id="{7E569B32-F9F7-424D-9484-0534EC2DC3D8}"/>
                </a:ext>
              </a:extLst>
            </p:cNvPr>
            <p:cNvSpPr txBox="1"/>
            <p:nvPr/>
          </p:nvSpPr>
          <p:spPr>
            <a:xfrm>
              <a:off x="288478" y="1445448"/>
              <a:ext cx="2923073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640080" tIns="0" rIns="0" bIns="0" rtlCol="0" anchor="ctr" anchorCtr="0">
              <a:noAutofit/>
            </a:bodyPr>
            <a:lstStyle/>
            <a:p>
              <a:pPr marL="0" lvl="3"/>
              <a:r>
                <a:rPr lang="en-US" dirty="0" err="1">
                  <a:solidFill>
                    <a:srgbClr val="FFFFFF"/>
                  </a:solidFill>
                  <a:cs typeface="Calibri" panose="020F0502020204030204" pitchFamily="34" charset="0"/>
                </a:rPr>
                <a:t>Definición</a:t>
              </a:r>
              <a:endParaRPr lang="en-US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76994CF-89D4-4340-9F68-4E640B70AB01}"/>
              </a:ext>
            </a:extLst>
          </p:cNvPr>
          <p:cNvGrpSpPr>
            <a:grpSpLocks noChangeAspect="1"/>
          </p:cNvGrpSpPr>
          <p:nvPr/>
        </p:nvGrpSpPr>
        <p:grpSpPr>
          <a:xfrm>
            <a:off x="318702" y="1591593"/>
            <a:ext cx="446806" cy="446374"/>
            <a:chOff x="5273675" y="2606675"/>
            <a:chExt cx="1646238" cy="1644650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C38E9CF8-EA2D-4A59-B530-673EE9FA14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2F4F71C-2665-4561-A8E4-15A098785859}"/>
                </a:ext>
              </a:extLst>
            </p:cNvPr>
            <p:cNvGrpSpPr/>
            <p:nvPr/>
          </p:nvGrpSpPr>
          <p:grpSpPr>
            <a:xfrm>
              <a:off x="5651500" y="2971800"/>
              <a:ext cx="892175" cy="1109663"/>
              <a:chOff x="5651500" y="2971800"/>
              <a:chExt cx="892175" cy="1109663"/>
            </a:xfrm>
          </p:grpSpPr>
          <p:sp>
            <p:nvSpPr>
              <p:cNvPr id="45" name="Freeform 20">
                <a:extLst>
                  <a:ext uri="{FF2B5EF4-FFF2-40B4-BE49-F238E27FC236}">
                    <a16:creationId xmlns:a16="http://schemas.microsoft.com/office/drawing/2014/main" id="{FCF3ED06-0AEB-4ECC-BDA7-AD046F4B8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2971800"/>
                <a:ext cx="892175" cy="1109663"/>
              </a:xfrm>
              <a:custGeom>
                <a:avLst/>
                <a:gdLst>
                  <a:gd name="connsiteX0" fmla="*/ 30163 w 892175"/>
                  <a:gd name="connsiteY0" fmla="*/ 198438 h 1109663"/>
                  <a:gd name="connsiteX1" fmla="*/ 30163 w 892175"/>
                  <a:gd name="connsiteY1" fmla="*/ 1077913 h 1109663"/>
                  <a:gd name="connsiteX2" fmla="*/ 654051 w 892175"/>
                  <a:gd name="connsiteY2" fmla="*/ 1077913 h 1109663"/>
                  <a:gd name="connsiteX3" fmla="*/ 654051 w 892175"/>
                  <a:gd name="connsiteY3" fmla="*/ 942976 h 1109663"/>
                  <a:gd name="connsiteX4" fmla="*/ 654051 w 892175"/>
                  <a:gd name="connsiteY4" fmla="*/ 927101 h 1109663"/>
                  <a:gd name="connsiteX5" fmla="*/ 654051 w 892175"/>
                  <a:gd name="connsiteY5" fmla="*/ 911226 h 1109663"/>
                  <a:gd name="connsiteX6" fmla="*/ 654051 w 892175"/>
                  <a:gd name="connsiteY6" fmla="*/ 198438 h 1109663"/>
                  <a:gd name="connsiteX7" fmla="*/ 238126 w 892175"/>
                  <a:gd name="connsiteY7" fmla="*/ 198438 h 1109663"/>
                  <a:gd name="connsiteX8" fmla="*/ 222251 w 892175"/>
                  <a:gd name="connsiteY8" fmla="*/ 198438 h 1109663"/>
                  <a:gd name="connsiteX9" fmla="*/ 206376 w 892175"/>
                  <a:gd name="connsiteY9" fmla="*/ 198438 h 1109663"/>
                  <a:gd name="connsiteX10" fmla="*/ 238125 w 892175"/>
                  <a:gd name="connsiteY10" fmla="*/ 31750 h 1109663"/>
                  <a:gd name="connsiteX11" fmla="*/ 238125 w 892175"/>
                  <a:gd name="connsiteY11" fmla="*/ 166670 h 1109663"/>
                  <a:gd name="connsiteX12" fmla="*/ 670100 w 892175"/>
                  <a:gd name="connsiteY12" fmla="*/ 166670 h 1109663"/>
                  <a:gd name="connsiteX13" fmla="*/ 685782 w 892175"/>
                  <a:gd name="connsiteY13" fmla="*/ 182375 h 1109663"/>
                  <a:gd name="connsiteX14" fmla="*/ 685782 w 892175"/>
                  <a:gd name="connsiteY14" fmla="*/ 911225 h 1109663"/>
                  <a:gd name="connsiteX15" fmla="*/ 860425 w 892175"/>
                  <a:gd name="connsiteY15" fmla="*/ 911225 h 1109663"/>
                  <a:gd name="connsiteX16" fmla="*/ 860425 w 892175"/>
                  <a:gd name="connsiteY16" fmla="*/ 31750 h 1109663"/>
                  <a:gd name="connsiteX17" fmla="*/ 238125 w 892175"/>
                  <a:gd name="connsiteY17" fmla="*/ 31750 h 1109663"/>
                  <a:gd name="connsiteX18" fmla="*/ 221973 w 892175"/>
                  <a:gd name="connsiteY18" fmla="*/ 0 h 1109663"/>
                  <a:gd name="connsiteX19" fmla="*/ 876473 w 892175"/>
                  <a:gd name="connsiteY19" fmla="*/ 0 h 1109663"/>
                  <a:gd name="connsiteX20" fmla="*/ 892175 w 892175"/>
                  <a:gd name="connsiteY20" fmla="*/ 15720 h 1109663"/>
                  <a:gd name="connsiteX21" fmla="*/ 892175 w 892175"/>
                  <a:gd name="connsiteY21" fmla="*/ 927458 h 1109663"/>
                  <a:gd name="connsiteX22" fmla="*/ 876473 w 892175"/>
                  <a:gd name="connsiteY22" fmla="*/ 943178 h 1109663"/>
                  <a:gd name="connsiteX23" fmla="*/ 685904 w 892175"/>
                  <a:gd name="connsiteY23" fmla="*/ 943178 h 1109663"/>
                  <a:gd name="connsiteX24" fmla="*/ 685904 w 892175"/>
                  <a:gd name="connsiteY24" fmla="*/ 1093944 h 1109663"/>
                  <a:gd name="connsiteX25" fmla="*/ 670202 w 892175"/>
                  <a:gd name="connsiteY25" fmla="*/ 1109663 h 1109663"/>
                  <a:gd name="connsiteX26" fmla="*/ 15703 w 892175"/>
                  <a:gd name="connsiteY26" fmla="*/ 1109663 h 1109663"/>
                  <a:gd name="connsiteX27" fmla="*/ 0 w 892175"/>
                  <a:gd name="connsiteY27" fmla="*/ 1093944 h 1109663"/>
                  <a:gd name="connsiteX28" fmla="*/ 0 w 892175"/>
                  <a:gd name="connsiteY28" fmla="*/ 182205 h 1109663"/>
                  <a:gd name="connsiteX29" fmla="*/ 15703 w 892175"/>
                  <a:gd name="connsiteY29" fmla="*/ 166485 h 1109663"/>
                  <a:gd name="connsiteX30" fmla="*/ 206271 w 892175"/>
                  <a:gd name="connsiteY30" fmla="*/ 166485 h 1109663"/>
                  <a:gd name="connsiteX31" fmla="*/ 206271 w 892175"/>
                  <a:gd name="connsiteY31" fmla="*/ 15720 h 1109663"/>
                  <a:gd name="connsiteX32" fmla="*/ 221973 w 892175"/>
                  <a:gd name="connsiteY32" fmla="*/ 0 h 1109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92175" h="1109663">
                    <a:moveTo>
                      <a:pt x="30163" y="198438"/>
                    </a:moveTo>
                    <a:lnTo>
                      <a:pt x="30163" y="1077913"/>
                    </a:lnTo>
                    <a:lnTo>
                      <a:pt x="654051" y="1077913"/>
                    </a:lnTo>
                    <a:lnTo>
                      <a:pt x="654051" y="942976"/>
                    </a:lnTo>
                    <a:lnTo>
                      <a:pt x="654051" y="927101"/>
                    </a:lnTo>
                    <a:lnTo>
                      <a:pt x="654051" y="911226"/>
                    </a:lnTo>
                    <a:lnTo>
                      <a:pt x="654051" y="198438"/>
                    </a:lnTo>
                    <a:lnTo>
                      <a:pt x="238126" y="198438"/>
                    </a:lnTo>
                    <a:lnTo>
                      <a:pt x="222251" y="198438"/>
                    </a:lnTo>
                    <a:lnTo>
                      <a:pt x="206376" y="198438"/>
                    </a:lnTo>
                    <a:close/>
                    <a:moveTo>
                      <a:pt x="238125" y="31750"/>
                    </a:moveTo>
                    <a:lnTo>
                      <a:pt x="238125" y="166670"/>
                    </a:lnTo>
                    <a:cubicBezTo>
                      <a:pt x="238125" y="166670"/>
                      <a:pt x="238125" y="166670"/>
                      <a:pt x="670100" y="166670"/>
                    </a:cubicBezTo>
                    <a:cubicBezTo>
                      <a:pt x="678654" y="166670"/>
                      <a:pt x="685782" y="173808"/>
                      <a:pt x="685782" y="182375"/>
                    </a:cubicBezTo>
                    <a:cubicBezTo>
                      <a:pt x="685782" y="182375"/>
                      <a:pt x="685782" y="182375"/>
                      <a:pt x="685782" y="911225"/>
                    </a:cubicBezTo>
                    <a:cubicBezTo>
                      <a:pt x="685782" y="911225"/>
                      <a:pt x="685782" y="911225"/>
                      <a:pt x="860425" y="911225"/>
                    </a:cubicBezTo>
                    <a:cubicBezTo>
                      <a:pt x="860425" y="911225"/>
                      <a:pt x="860425" y="911225"/>
                      <a:pt x="860425" y="31750"/>
                    </a:cubicBezTo>
                    <a:cubicBezTo>
                      <a:pt x="860425" y="31750"/>
                      <a:pt x="860425" y="31750"/>
                      <a:pt x="238125" y="31750"/>
                    </a:cubicBezTo>
                    <a:close/>
                    <a:moveTo>
                      <a:pt x="221973" y="0"/>
                    </a:moveTo>
                    <a:cubicBezTo>
                      <a:pt x="221973" y="0"/>
                      <a:pt x="221973" y="0"/>
                      <a:pt x="876473" y="0"/>
                    </a:cubicBezTo>
                    <a:cubicBezTo>
                      <a:pt x="885752" y="0"/>
                      <a:pt x="892175" y="7145"/>
                      <a:pt x="892175" y="15720"/>
                    </a:cubicBezTo>
                    <a:cubicBezTo>
                      <a:pt x="892175" y="15720"/>
                      <a:pt x="892175" y="15720"/>
                      <a:pt x="892175" y="927458"/>
                    </a:cubicBezTo>
                    <a:cubicBezTo>
                      <a:pt x="892175" y="936033"/>
                      <a:pt x="885752" y="943178"/>
                      <a:pt x="876473" y="943178"/>
                    </a:cubicBezTo>
                    <a:cubicBezTo>
                      <a:pt x="876473" y="943178"/>
                      <a:pt x="876473" y="943178"/>
                      <a:pt x="685904" y="943178"/>
                    </a:cubicBezTo>
                    <a:cubicBezTo>
                      <a:pt x="685904" y="943178"/>
                      <a:pt x="685904" y="943178"/>
                      <a:pt x="685904" y="1093944"/>
                    </a:cubicBezTo>
                    <a:cubicBezTo>
                      <a:pt x="685904" y="1102518"/>
                      <a:pt x="678767" y="1109663"/>
                      <a:pt x="670202" y="1109663"/>
                    </a:cubicBezTo>
                    <a:cubicBezTo>
                      <a:pt x="670202" y="1109663"/>
                      <a:pt x="670202" y="1109663"/>
                      <a:pt x="15703" y="1109663"/>
                    </a:cubicBezTo>
                    <a:cubicBezTo>
                      <a:pt x="6424" y="1109663"/>
                      <a:pt x="0" y="1102518"/>
                      <a:pt x="0" y="1093944"/>
                    </a:cubicBezTo>
                    <a:cubicBezTo>
                      <a:pt x="0" y="1093944"/>
                      <a:pt x="0" y="1093944"/>
                      <a:pt x="0" y="182205"/>
                    </a:cubicBezTo>
                    <a:cubicBezTo>
                      <a:pt x="0" y="173631"/>
                      <a:pt x="6424" y="166485"/>
                      <a:pt x="15703" y="166485"/>
                    </a:cubicBezTo>
                    <a:cubicBezTo>
                      <a:pt x="15703" y="166485"/>
                      <a:pt x="15703" y="166485"/>
                      <a:pt x="206271" y="166485"/>
                    </a:cubicBezTo>
                    <a:cubicBezTo>
                      <a:pt x="206271" y="166485"/>
                      <a:pt x="206271" y="166485"/>
                      <a:pt x="206271" y="15720"/>
                    </a:cubicBezTo>
                    <a:cubicBezTo>
                      <a:pt x="206271" y="7145"/>
                      <a:pt x="213409" y="0"/>
                      <a:pt x="22197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21">
                <a:extLst>
                  <a:ext uri="{FF2B5EF4-FFF2-40B4-BE49-F238E27FC236}">
                    <a16:creationId xmlns:a16="http://schemas.microsoft.com/office/drawing/2014/main" id="{464CD920-DF55-40B3-9DD2-DD02E9380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88" y="3287713"/>
                <a:ext cx="454025" cy="646113"/>
              </a:xfrm>
              <a:custGeom>
                <a:avLst/>
                <a:gdLst>
                  <a:gd name="connsiteX0" fmla="*/ 15681 w 454025"/>
                  <a:gd name="connsiteY0" fmla="*/ 615950 h 646113"/>
                  <a:gd name="connsiteX1" fmla="*/ 91233 w 454025"/>
                  <a:gd name="connsiteY1" fmla="*/ 615950 h 646113"/>
                  <a:gd name="connsiteX2" fmla="*/ 439057 w 454025"/>
                  <a:gd name="connsiteY2" fmla="*/ 615950 h 646113"/>
                  <a:gd name="connsiteX3" fmla="*/ 453312 w 454025"/>
                  <a:gd name="connsiteY3" fmla="*/ 626472 h 646113"/>
                  <a:gd name="connsiteX4" fmla="*/ 454025 w 454025"/>
                  <a:gd name="connsiteY4" fmla="*/ 631382 h 646113"/>
                  <a:gd name="connsiteX5" fmla="*/ 454025 w 454025"/>
                  <a:gd name="connsiteY5" fmla="*/ 632785 h 646113"/>
                  <a:gd name="connsiteX6" fmla="*/ 444047 w 454025"/>
                  <a:gd name="connsiteY6" fmla="*/ 645412 h 646113"/>
                  <a:gd name="connsiteX7" fmla="*/ 442621 w 454025"/>
                  <a:gd name="connsiteY7" fmla="*/ 646113 h 646113"/>
                  <a:gd name="connsiteX8" fmla="*/ 441908 w 454025"/>
                  <a:gd name="connsiteY8" fmla="*/ 646113 h 646113"/>
                  <a:gd name="connsiteX9" fmla="*/ 439057 w 454025"/>
                  <a:gd name="connsiteY9" fmla="*/ 646113 h 646113"/>
                  <a:gd name="connsiteX10" fmla="*/ 15681 w 454025"/>
                  <a:gd name="connsiteY10" fmla="*/ 646113 h 646113"/>
                  <a:gd name="connsiteX11" fmla="*/ 14968 w 454025"/>
                  <a:gd name="connsiteY11" fmla="*/ 646113 h 646113"/>
                  <a:gd name="connsiteX12" fmla="*/ 0 w 454025"/>
                  <a:gd name="connsiteY12" fmla="*/ 631382 h 646113"/>
                  <a:gd name="connsiteX13" fmla="*/ 15681 w 454025"/>
                  <a:gd name="connsiteY13" fmla="*/ 615950 h 646113"/>
                  <a:gd name="connsiteX14" fmla="*/ 15681 w 454025"/>
                  <a:gd name="connsiteY14" fmla="*/ 512762 h 646113"/>
                  <a:gd name="connsiteX15" fmla="*/ 90520 w 454025"/>
                  <a:gd name="connsiteY15" fmla="*/ 512762 h 646113"/>
                  <a:gd name="connsiteX16" fmla="*/ 106201 w 454025"/>
                  <a:gd name="connsiteY16" fmla="*/ 512762 h 646113"/>
                  <a:gd name="connsiteX17" fmla="*/ 121881 w 454025"/>
                  <a:gd name="connsiteY17" fmla="*/ 512762 h 646113"/>
                  <a:gd name="connsiteX18" fmla="*/ 439057 w 454025"/>
                  <a:gd name="connsiteY18" fmla="*/ 512762 h 646113"/>
                  <a:gd name="connsiteX19" fmla="*/ 454025 w 454025"/>
                  <a:gd name="connsiteY19" fmla="*/ 528637 h 646113"/>
                  <a:gd name="connsiteX20" fmla="*/ 454025 w 454025"/>
                  <a:gd name="connsiteY20" fmla="*/ 531523 h 646113"/>
                  <a:gd name="connsiteX21" fmla="*/ 453312 w 454025"/>
                  <a:gd name="connsiteY21" fmla="*/ 532967 h 646113"/>
                  <a:gd name="connsiteX22" fmla="*/ 453312 w 454025"/>
                  <a:gd name="connsiteY22" fmla="*/ 533688 h 646113"/>
                  <a:gd name="connsiteX23" fmla="*/ 444047 w 454025"/>
                  <a:gd name="connsiteY23" fmla="*/ 543791 h 646113"/>
                  <a:gd name="connsiteX24" fmla="*/ 443334 w 454025"/>
                  <a:gd name="connsiteY24" fmla="*/ 543791 h 646113"/>
                  <a:gd name="connsiteX25" fmla="*/ 441908 w 454025"/>
                  <a:gd name="connsiteY25" fmla="*/ 544512 h 646113"/>
                  <a:gd name="connsiteX26" fmla="*/ 439057 w 454025"/>
                  <a:gd name="connsiteY26" fmla="*/ 544512 h 646113"/>
                  <a:gd name="connsiteX27" fmla="*/ 121881 w 454025"/>
                  <a:gd name="connsiteY27" fmla="*/ 544512 h 646113"/>
                  <a:gd name="connsiteX28" fmla="*/ 106201 w 454025"/>
                  <a:gd name="connsiteY28" fmla="*/ 544512 h 646113"/>
                  <a:gd name="connsiteX29" fmla="*/ 90520 w 454025"/>
                  <a:gd name="connsiteY29" fmla="*/ 544512 h 646113"/>
                  <a:gd name="connsiteX30" fmla="*/ 15681 w 454025"/>
                  <a:gd name="connsiteY30" fmla="*/ 544512 h 646113"/>
                  <a:gd name="connsiteX31" fmla="*/ 0 w 454025"/>
                  <a:gd name="connsiteY31" fmla="*/ 528637 h 646113"/>
                  <a:gd name="connsiteX32" fmla="*/ 15681 w 454025"/>
                  <a:gd name="connsiteY32" fmla="*/ 512762 h 646113"/>
                  <a:gd name="connsiteX33" fmla="*/ 15681 w 454025"/>
                  <a:gd name="connsiteY33" fmla="*/ 411162 h 646113"/>
                  <a:gd name="connsiteX34" fmla="*/ 90520 w 454025"/>
                  <a:gd name="connsiteY34" fmla="*/ 411162 h 646113"/>
                  <a:gd name="connsiteX35" fmla="*/ 106201 w 454025"/>
                  <a:gd name="connsiteY35" fmla="*/ 411162 h 646113"/>
                  <a:gd name="connsiteX36" fmla="*/ 121881 w 454025"/>
                  <a:gd name="connsiteY36" fmla="*/ 411162 h 646113"/>
                  <a:gd name="connsiteX37" fmla="*/ 439057 w 454025"/>
                  <a:gd name="connsiteY37" fmla="*/ 411162 h 646113"/>
                  <a:gd name="connsiteX38" fmla="*/ 454025 w 454025"/>
                  <a:gd name="connsiteY38" fmla="*/ 426594 h 646113"/>
                  <a:gd name="connsiteX39" fmla="*/ 439057 w 454025"/>
                  <a:gd name="connsiteY39" fmla="*/ 441325 h 646113"/>
                  <a:gd name="connsiteX40" fmla="*/ 121881 w 454025"/>
                  <a:gd name="connsiteY40" fmla="*/ 441325 h 646113"/>
                  <a:gd name="connsiteX41" fmla="*/ 106201 w 454025"/>
                  <a:gd name="connsiteY41" fmla="*/ 441325 h 646113"/>
                  <a:gd name="connsiteX42" fmla="*/ 90520 w 454025"/>
                  <a:gd name="connsiteY42" fmla="*/ 441325 h 646113"/>
                  <a:gd name="connsiteX43" fmla="*/ 15681 w 454025"/>
                  <a:gd name="connsiteY43" fmla="*/ 441325 h 646113"/>
                  <a:gd name="connsiteX44" fmla="*/ 0 w 454025"/>
                  <a:gd name="connsiteY44" fmla="*/ 426594 h 646113"/>
                  <a:gd name="connsiteX45" fmla="*/ 15681 w 454025"/>
                  <a:gd name="connsiteY45" fmla="*/ 411162 h 646113"/>
                  <a:gd name="connsiteX46" fmla="*/ 15681 w 454025"/>
                  <a:gd name="connsiteY46" fmla="*/ 307975 h 646113"/>
                  <a:gd name="connsiteX47" fmla="*/ 90520 w 454025"/>
                  <a:gd name="connsiteY47" fmla="*/ 307975 h 646113"/>
                  <a:gd name="connsiteX48" fmla="*/ 106201 w 454025"/>
                  <a:gd name="connsiteY48" fmla="*/ 307975 h 646113"/>
                  <a:gd name="connsiteX49" fmla="*/ 121881 w 454025"/>
                  <a:gd name="connsiteY49" fmla="*/ 307975 h 646113"/>
                  <a:gd name="connsiteX50" fmla="*/ 439057 w 454025"/>
                  <a:gd name="connsiteY50" fmla="*/ 307975 h 646113"/>
                  <a:gd name="connsiteX51" fmla="*/ 454025 w 454025"/>
                  <a:gd name="connsiteY51" fmla="*/ 323057 h 646113"/>
                  <a:gd name="connsiteX52" fmla="*/ 439057 w 454025"/>
                  <a:gd name="connsiteY52" fmla="*/ 338138 h 646113"/>
                  <a:gd name="connsiteX53" fmla="*/ 121881 w 454025"/>
                  <a:gd name="connsiteY53" fmla="*/ 338138 h 646113"/>
                  <a:gd name="connsiteX54" fmla="*/ 106201 w 454025"/>
                  <a:gd name="connsiteY54" fmla="*/ 338138 h 646113"/>
                  <a:gd name="connsiteX55" fmla="*/ 90520 w 454025"/>
                  <a:gd name="connsiteY55" fmla="*/ 338138 h 646113"/>
                  <a:gd name="connsiteX56" fmla="*/ 15681 w 454025"/>
                  <a:gd name="connsiteY56" fmla="*/ 338138 h 646113"/>
                  <a:gd name="connsiteX57" fmla="*/ 0 w 454025"/>
                  <a:gd name="connsiteY57" fmla="*/ 323057 h 646113"/>
                  <a:gd name="connsiteX58" fmla="*/ 15681 w 454025"/>
                  <a:gd name="connsiteY58" fmla="*/ 307975 h 646113"/>
                  <a:gd name="connsiteX59" fmla="*/ 15681 w 454025"/>
                  <a:gd name="connsiteY59" fmla="*/ 204787 h 646113"/>
                  <a:gd name="connsiteX60" fmla="*/ 90520 w 454025"/>
                  <a:gd name="connsiteY60" fmla="*/ 204787 h 646113"/>
                  <a:gd name="connsiteX61" fmla="*/ 106201 w 454025"/>
                  <a:gd name="connsiteY61" fmla="*/ 204787 h 646113"/>
                  <a:gd name="connsiteX62" fmla="*/ 121881 w 454025"/>
                  <a:gd name="connsiteY62" fmla="*/ 204787 h 646113"/>
                  <a:gd name="connsiteX63" fmla="*/ 439057 w 454025"/>
                  <a:gd name="connsiteY63" fmla="*/ 204787 h 646113"/>
                  <a:gd name="connsiteX64" fmla="*/ 454025 w 454025"/>
                  <a:gd name="connsiteY64" fmla="*/ 220219 h 646113"/>
                  <a:gd name="connsiteX65" fmla="*/ 439057 w 454025"/>
                  <a:gd name="connsiteY65" fmla="*/ 234950 h 646113"/>
                  <a:gd name="connsiteX66" fmla="*/ 121881 w 454025"/>
                  <a:gd name="connsiteY66" fmla="*/ 234950 h 646113"/>
                  <a:gd name="connsiteX67" fmla="*/ 106201 w 454025"/>
                  <a:gd name="connsiteY67" fmla="*/ 234950 h 646113"/>
                  <a:gd name="connsiteX68" fmla="*/ 90520 w 454025"/>
                  <a:gd name="connsiteY68" fmla="*/ 234950 h 646113"/>
                  <a:gd name="connsiteX69" fmla="*/ 15681 w 454025"/>
                  <a:gd name="connsiteY69" fmla="*/ 234950 h 646113"/>
                  <a:gd name="connsiteX70" fmla="*/ 0 w 454025"/>
                  <a:gd name="connsiteY70" fmla="*/ 220219 h 646113"/>
                  <a:gd name="connsiteX71" fmla="*/ 15681 w 454025"/>
                  <a:gd name="connsiteY71" fmla="*/ 204787 h 646113"/>
                  <a:gd name="connsiteX72" fmla="*/ 15681 w 454025"/>
                  <a:gd name="connsiteY72" fmla="*/ 101600 h 646113"/>
                  <a:gd name="connsiteX73" fmla="*/ 90520 w 454025"/>
                  <a:gd name="connsiteY73" fmla="*/ 101600 h 646113"/>
                  <a:gd name="connsiteX74" fmla="*/ 106201 w 454025"/>
                  <a:gd name="connsiteY74" fmla="*/ 101600 h 646113"/>
                  <a:gd name="connsiteX75" fmla="*/ 121881 w 454025"/>
                  <a:gd name="connsiteY75" fmla="*/ 101600 h 646113"/>
                  <a:gd name="connsiteX76" fmla="*/ 439057 w 454025"/>
                  <a:gd name="connsiteY76" fmla="*/ 101600 h 646113"/>
                  <a:gd name="connsiteX77" fmla="*/ 454025 w 454025"/>
                  <a:gd name="connsiteY77" fmla="*/ 117475 h 646113"/>
                  <a:gd name="connsiteX78" fmla="*/ 439057 w 454025"/>
                  <a:gd name="connsiteY78" fmla="*/ 133350 h 646113"/>
                  <a:gd name="connsiteX79" fmla="*/ 121881 w 454025"/>
                  <a:gd name="connsiteY79" fmla="*/ 133350 h 646113"/>
                  <a:gd name="connsiteX80" fmla="*/ 106201 w 454025"/>
                  <a:gd name="connsiteY80" fmla="*/ 133350 h 646113"/>
                  <a:gd name="connsiteX81" fmla="*/ 90520 w 454025"/>
                  <a:gd name="connsiteY81" fmla="*/ 133350 h 646113"/>
                  <a:gd name="connsiteX82" fmla="*/ 15681 w 454025"/>
                  <a:gd name="connsiteY82" fmla="*/ 133350 h 646113"/>
                  <a:gd name="connsiteX83" fmla="*/ 0 w 454025"/>
                  <a:gd name="connsiteY83" fmla="*/ 117475 h 646113"/>
                  <a:gd name="connsiteX84" fmla="*/ 15681 w 454025"/>
                  <a:gd name="connsiteY84" fmla="*/ 101600 h 646113"/>
                  <a:gd name="connsiteX85" fmla="*/ 15681 w 454025"/>
                  <a:gd name="connsiteY85" fmla="*/ 0 h 646113"/>
                  <a:gd name="connsiteX86" fmla="*/ 90520 w 454025"/>
                  <a:gd name="connsiteY86" fmla="*/ 0 h 646113"/>
                  <a:gd name="connsiteX87" fmla="*/ 106201 w 454025"/>
                  <a:gd name="connsiteY87" fmla="*/ 0 h 646113"/>
                  <a:gd name="connsiteX88" fmla="*/ 121881 w 454025"/>
                  <a:gd name="connsiteY88" fmla="*/ 0 h 646113"/>
                  <a:gd name="connsiteX89" fmla="*/ 439057 w 454025"/>
                  <a:gd name="connsiteY89" fmla="*/ 0 h 646113"/>
                  <a:gd name="connsiteX90" fmla="*/ 454025 w 454025"/>
                  <a:gd name="connsiteY90" fmla="*/ 15432 h 646113"/>
                  <a:gd name="connsiteX91" fmla="*/ 439057 w 454025"/>
                  <a:gd name="connsiteY91" fmla="*/ 30163 h 646113"/>
                  <a:gd name="connsiteX92" fmla="*/ 121881 w 454025"/>
                  <a:gd name="connsiteY92" fmla="*/ 30163 h 646113"/>
                  <a:gd name="connsiteX93" fmla="*/ 106201 w 454025"/>
                  <a:gd name="connsiteY93" fmla="*/ 30163 h 646113"/>
                  <a:gd name="connsiteX94" fmla="*/ 90520 w 454025"/>
                  <a:gd name="connsiteY94" fmla="*/ 30163 h 646113"/>
                  <a:gd name="connsiteX95" fmla="*/ 15681 w 454025"/>
                  <a:gd name="connsiteY95" fmla="*/ 30163 h 646113"/>
                  <a:gd name="connsiteX96" fmla="*/ 0 w 454025"/>
                  <a:gd name="connsiteY96" fmla="*/ 15432 h 646113"/>
                  <a:gd name="connsiteX97" fmla="*/ 15681 w 454025"/>
                  <a:gd name="connsiteY97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454025" h="646113">
                    <a:moveTo>
                      <a:pt x="15681" y="615950"/>
                    </a:moveTo>
                    <a:cubicBezTo>
                      <a:pt x="42766" y="615950"/>
                      <a:pt x="67712" y="615950"/>
                      <a:pt x="91233" y="615950"/>
                    </a:cubicBezTo>
                    <a:cubicBezTo>
                      <a:pt x="439057" y="615950"/>
                      <a:pt x="439057" y="615950"/>
                      <a:pt x="439057" y="615950"/>
                    </a:cubicBezTo>
                    <a:cubicBezTo>
                      <a:pt x="446185" y="615950"/>
                      <a:pt x="451887" y="620159"/>
                      <a:pt x="453312" y="626472"/>
                    </a:cubicBezTo>
                    <a:cubicBezTo>
                      <a:pt x="454025" y="627875"/>
                      <a:pt x="454025" y="629278"/>
                      <a:pt x="454025" y="631382"/>
                    </a:cubicBezTo>
                    <a:cubicBezTo>
                      <a:pt x="454025" y="632084"/>
                      <a:pt x="454025" y="632084"/>
                      <a:pt x="454025" y="632785"/>
                    </a:cubicBezTo>
                    <a:cubicBezTo>
                      <a:pt x="453312" y="638397"/>
                      <a:pt x="449749" y="643307"/>
                      <a:pt x="444047" y="645412"/>
                    </a:cubicBezTo>
                    <a:cubicBezTo>
                      <a:pt x="444047" y="645412"/>
                      <a:pt x="443334" y="646113"/>
                      <a:pt x="442621" y="646113"/>
                    </a:cubicBezTo>
                    <a:cubicBezTo>
                      <a:pt x="442621" y="646113"/>
                      <a:pt x="441908" y="646113"/>
                      <a:pt x="441908" y="646113"/>
                    </a:cubicBezTo>
                    <a:cubicBezTo>
                      <a:pt x="441196" y="646113"/>
                      <a:pt x="439770" y="646113"/>
                      <a:pt x="439057" y="646113"/>
                    </a:cubicBezTo>
                    <a:cubicBezTo>
                      <a:pt x="15681" y="646113"/>
                      <a:pt x="15681" y="646113"/>
                      <a:pt x="15681" y="646113"/>
                    </a:cubicBezTo>
                    <a:cubicBezTo>
                      <a:pt x="15681" y="646113"/>
                      <a:pt x="14968" y="646113"/>
                      <a:pt x="14968" y="646113"/>
                    </a:cubicBezTo>
                    <a:cubicBezTo>
                      <a:pt x="7128" y="646113"/>
                      <a:pt x="713" y="639800"/>
                      <a:pt x="0" y="631382"/>
                    </a:cubicBezTo>
                    <a:cubicBezTo>
                      <a:pt x="0" y="622965"/>
                      <a:pt x="7128" y="615950"/>
                      <a:pt x="15681" y="615950"/>
                    </a:cubicBezTo>
                    <a:close/>
                    <a:moveTo>
                      <a:pt x="15681" y="512762"/>
                    </a:moveTo>
                    <a:cubicBezTo>
                      <a:pt x="42053" y="512762"/>
                      <a:pt x="67712" y="512762"/>
                      <a:pt x="90520" y="512762"/>
                    </a:cubicBezTo>
                    <a:cubicBezTo>
                      <a:pt x="96222" y="512762"/>
                      <a:pt x="101211" y="512762"/>
                      <a:pt x="106201" y="512762"/>
                    </a:cubicBezTo>
                    <a:cubicBezTo>
                      <a:pt x="111903" y="512762"/>
                      <a:pt x="116892" y="512762"/>
                      <a:pt x="121881" y="512762"/>
                    </a:cubicBezTo>
                    <a:cubicBezTo>
                      <a:pt x="439057" y="512762"/>
                      <a:pt x="439057" y="512762"/>
                      <a:pt x="439057" y="512762"/>
                    </a:cubicBezTo>
                    <a:cubicBezTo>
                      <a:pt x="447610" y="512762"/>
                      <a:pt x="454025" y="519978"/>
                      <a:pt x="454025" y="528637"/>
                    </a:cubicBezTo>
                    <a:cubicBezTo>
                      <a:pt x="454025" y="530080"/>
                      <a:pt x="454025" y="530802"/>
                      <a:pt x="454025" y="531523"/>
                    </a:cubicBezTo>
                    <a:cubicBezTo>
                      <a:pt x="454025" y="532245"/>
                      <a:pt x="454025" y="532967"/>
                      <a:pt x="453312" y="532967"/>
                    </a:cubicBezTo>
                    <a:cubicBezTo>
                      <a:pt x="453312" y="533688"/>
                      <a:pt x="453312" y="533688"/>
                      <a:pt x="453312" y="533688"/>
                    </a:cubicBezTo>
                    <a:cubicBezTo>
                      <a:pt x="451887" y="538739"/>
                      <a:pt x="449036" y="542347"/>
                      <a:pt x="444047" y="543791"/>
                    </a:cubicBezTo>
                    <a:cubicBezTo>
                      <a:pt x="443334" y="543791"/>
                      <a:pt x="443334" y="543791"/>
                      <a:pt x="443334" y="543791"/>
                    </a:cubicBezTo>
                    <a:cubicBezTo>
                      <a:pt x="442621" y="543791"/>
                      <a:pt x="441908" y="543791"/>
                      <a:pt x="441908" y="544512"/>
                    </a:cubicBezTo>
                    <a:cubicBezTo>
                      <a:pt x="440483" y="544512"/>
                      <a:pt x="439770" y="544512"/>
                      <a:pt x="439057" y="544512"/>
                    </a:cubicBezTo>
                    <a:cubicBezTo>
                      <a:pt x="282964" y="544512"/>
                      <a:pt x="184604" y="544512"/>
                      <a:pt x="121881" y="544512"/>
                    </a:cubicBezTo>
                    <a:cubicBezTo>
                      <a:pt x="116892" y="544512"/>
                      <a:pt x="111190" y="544512"/>
                      <a:pt x="106201" y="544512"/>
                    </a:cubicBezTo>
                    <a:cubicBezTo>
                      <a:pt x="101211" y="544512"/>
                      <a:pt x="95509" y="544512"/>
                      <a:pt x="90520" y="544512"/>
                    </a:cubicBezTo>
                    <a:cubicBezTo>
                      <a:pt x="15681" y="544512"/>
                      <a:pt x="15681" y="544512"/>
                      <a:pt x="15681" y="544512"/>
                    </a:cubicBezTo>
                    <a:cubicBezTo>
                      <a:pt x="7128" y="544512"/>
                      <a:pt x="0" y="538018"/>
                      <a:pt x="0" y="528637"/>
                    </a:cubicBezTo>
                    <a:cubicBezTo>
                      <a:pt x="0" y="519978"/>
                      <a:pt x="7128" y="512762"/>
                      <a:pt x="15681" y="512762"/>
                    </a:cubicBezTo>
                    <a:close/>
                    <a:moveTo>
                      <a:pt x="15681" y="411162"/>
                    </a:moveTo>
                    <a:cubicBezTo>
                      <a:pt x="42053" y="411162"/>
                      <a:pt x="67712" y="411162"/>
                      <a:pt x="90520" y="411162"/>
                    </a:cubicBezTo>
                    <a:cubicBezTo>
                      <a:pt x="96222" y="411162"/>
                      <a:pt x="101211" y="411162"/>
                      <a:pt x="106201" y="411162"/>
                    </a:cubicBezTo>
                    <a:cubicBezTo>
                      <a:pt x="111903" y="411162"/>
                      <a:pt x="116892" y="411162"/>
                      <a:pt x="121881" y="411162"/>
                    </a:cubicBezTo>
                    <a:cubicBezTo>
                      <a:pt x="439057" y="411162"/>
                      <a:pt x="439057" y="411162"/>
                      <a:pt x="439057" y="411162"/>
                    </a:cubicBezTo>
                    <a:cubicBezTo>
                      <a:pt x="447610" y="411162"/>
                      <a:pt x="454025" y="418177"/>
                      <a:pt x="454025" y="426594"/>
                    </a:cubicBezTo>
                    <a:cubicBezTo>
                      <a:pt x="454025" y="435012"/>
                      <a:pt x="447610" y="441325"/>
                      <a:pt x="439057" y="441325"/>
                    </a:cubicBezTo>
                    <a:cubicBezTo>
                      <a:pt x="282964" y="441325"/>
                      <a:pt x="184604" y="441325"/>
                      <a:pt x="121881" y="441325"/>
                    </a:cubicBezTo>
                    <a:cubicBezTo>
                      <a:pt x="116892" y="441325"/>
                      <a:pt x="111190" y="441325"/>
                      <a:pt x="106201" y="441325"/>
                    </a:cubicBezTo>
                    <a:cubicBezTo>
                      <a:pt x="101211" y="441325"/>
                      <a:pt x="95509" y="441325"/>
                      <a:pt x="90520" y="441325"/>
                    </a:cubicBezTo>
                    <a:cubicBezTo>
                      <a:pt x="15681" y="441325"/>
                      <a:pt x="15681" y="441325"/>
                      <a:pt x="15681" y="441325"/>
                    </a:cubicBezTo>
                    <a:cubicBezTo>
                      <a:pt x="7128" y="441325"/>
                      <a:pt x="0" y="435012"/>
                      <a:pt x="0" y="426594"/>
                    </a:cubicBezTo>
                    <a:cubicBezTo>
                      <a:pt x="0" y="418177"/>
                      <a:pt x="7128" y="411162"/>
                      <a:pt x="15681" y="411162"/>
                    </a:cubicBezTo>
                    <a:close/>
                    <a:moveTo>
                      <a:pt x="15681" y="307975"/>
                    </a:moveTo>
                    <a:cubicBezTo>
                      <a:pt x="42053" y="307975"/>
                      <a:pt x="67712" y="307975"/>
                      <a:pt x="90520" y="307975"/>
                    </a:cubicBezTo>
                    <a:cubicBezTo>
                      <a:pt x="96222" y="307975"/>
                      <a:pt x="101211" y="307975"/>
                      <a:pt x="106201" y="307975"/>
                    </a:cubicBezTo>
                    <a:cubicBezTo>
                      <a:pt x="111903" y="307975"/>
                      <a:pt x="116892" y="307975"/>
                      <a:pt x="121881" y="307975"/>
                    </a:cubicBezTo>
                    <a:cubicBezTo>
                      <a:pt x="439057" y="307975"/>
                      <a:pt x="439057" y="307975"/>
                      <a:pt x="439057" y="307975"/>
                    </a:cubicBezTo>
                    <a:cubicBezTo>
                      <a:pt x="447610" y="307975"/>
                      <a:pt x="454025" y="315157"/>
                      <a:pt x="454025" y="323057"/>
                    </a:cubicBezTo>
                    <a:cubicBezTo>
                      <a:pt x="454025" y="330956"/>
                      <a:pt x="447610" y="338138"/>
                      <a:pt x="439057" y="338138"/>
                    </a:cubicBezTo>
                    <a:cubicBezTo>
                      <a:pt x="282964" y="338138"/>
                      <a:pt x="184604" y="338138"/>
                      <a:pt x="121881" y="338138"/>
                    </a:cubicBezTo>
                    <a:cubicBezTo>
                      <a:pt x="116892" y="338138"/>
                      <a:pt x="111190" y="338138"/>
                      <a:pt x="106201" y="338138"/>
                    </a:cubicBezTo>
                    <a:cubicBezTo>
                      <a:pt x="101211" y="338138"/>
                      <a:pt x="95509" y="338138"/>
                      <a:pt x="90520" y="338138"/>
                    </a:cubicBezTo>
                    <a:cubicBezTo>
                      <a:pt x="15681" y="338138"/>
                      <a:pt x="15681" y="338138"/>
                      <a:pt x="15681" y="338138"/>
                    </a:cubicBezTo>
                    <a:cubicBezTo>
                      <a:pt x="7128" y="338138"/>
                      <a:pt x="0" y="330956"/>
                      <a:pt x="0" y="323057"/>
                    </a:cubicBezTo>
                    <a:cubicBezTo>
                      <a:pt x="0" y="315157"/>
                      <a:pt x="7128" y="307975"/>
                      <a:pt x="15681" y="307975"/>
                    </a:cubicBezTo>
                    <a:close/>
                    <a:moveTo>
                      <a:pt x="15681" y="204787"/>
                    </a:moveTo>
                    <a:cubicBezTo>
                      <a:pt x="42053" y="204787"/>
                      <a:pt x="67712" y="204787"/>
                      <a:pt x="90520" y="204787"/>
                    </a:cubicBezTo>
                    <a:cubicBezTo>
                      <a:pt x="96222" y="204787"/>
                      <a:pt x="101211" y="204787"/>
                      <a:pt x="106201" y="204787"/>
                    </a:cubicBezTo>
                    <a:cubicBezTo>
                      <a:pt x="111903" y="204787"/>
                      <a:pt x="116892" y="204787"/>
                      <a:pt x="121881" y="204787"/>
                    </a:cubicBezTo>
                    <a:cubicBezTo>
                      <a:pt x="439057" y="204787"/>
                      <a:pt x="439057" y="204787"/>
                      <a:pt x="439057" y="204787"/>
                    </a:cubicBezTo>
                    <a:cubicBezTo>
                      <a:pt x="447610" y="204787"/>
                      <a:pt x="454025" y="211802"/>
                      <a:pt x="454025" y="220219"/>
                    </a:cubicBezTo>
                    <a:cubicBezTo>
                      <a:pt x="454025" y="227935"/>
                      <a:pt x="447610" y="234950"/>
                      <a:pt x="439057" y="234950"/>
                    </a:cubicBezTo>
                    <a:cubicBezTo>
                      <a:pt x="282964" y="234950"/>
                      <a:pt x="184604" y="234950"/>
                      <a:pt x="121881" y="234950"/>
                    </a:cubicBezTo>
                    <a:cubicBezTo>
                      <a:pt x="116892" y="234950"/>
                      <a:pt x="111190" y="234950"/>
                      <a:pt x="106201" y="234950"/>
                    </a:cubicBezTo>
                    <a:cubicBezTo>
                      <a:pt x="101211" y="234950"/>
                      <a:pt x="95509" y="234950"/>
                      <a:pt x="90520" y="234950"/>
                    </a:cubicBezTo>
                    <a:cubicBezTo>
                      <a:pt x="15681" y="234950"/>
                      <a:pt x="15681" y="234950"/>
                      <a:pt x="15681" y="234950"/>
                    </a:cubicBezTo>
                    <a:cubicBezTo>
                      <a:pt x="7128" y="234950"/>
                      <a:pt x="0" y="227935"/>
                      <a:pt x="0" y="220219"/>
                    </a:cubicBezTo>
                    <a:cubicBezTo>
                      <a:pt x="0" y="211802"/>
                      <a:pt x="7128" y="204787"/>
                      <a:pt x="15681" y="204787"/>
                    </a:cubicBezTo>
                    <a:close/>
                    <a:moveTo>
                      <a:pt x="15681" y="101600"/>
                    </a:moveTo>
                    <a:cubicBezTo>
                      <a:pt x="42053" y="101600"/>
                      <a:pt x="67712" y="101600"/>
                      <a:pt x="90520" y="101600"/>
                    </a:cubicBezTo>
                    <a:cubicBezTo>
                      <a:pt x="96222" y="101600"/>
                      <a:pt x="101211" y="101600"/>
                      <a:pt x="106201" y="101600"/>
                    </a:cubicBezTo>
                    <a:cubicBezTo>
                      <a:pt x="111903" y="101600"/>
                      <a:pt x="116892" y="101600"/>
                      <a:pt x="121881" y="101600"/>
                    </a:cubicBezTo>
                    <a:cubicBezTo>
                      <a:pt x="439057" y="101600"/>
                      <a:pt x="439057" y="101600"/>
                      <a:pt x="439057" y="101600"/>
                    </a:cubicBezTo>
                    <a:cubicBezTo>
                      <a:pt x="447610" y="101600"/>
                      <a:pt x="454025" y="108816"/>
                      <a:pt x="454025" y="117475"/>
                    </a:cubicBezTo>
                    <a:cubicBezTo>
                      <a:pt x="454025" y="126134"/>
                      <a:pt x="447610" y="133350"/>
                      <a:pt x="439057" y="133350"/>
                    </a:cubicBezTo>
                    <a:cubicBezTo>
                      <a:pt x="282964" y="133350"/>
                      <a:pt x="184604" y="133350"/>
                      <a:pt x="121881" y="133350"/>
                    </a:cubicBezTo>
                    <a:cubicBezTo>
                      <a:pt x="116892" y="133350"/>
                      <a:pt x="111190" y="133350"/>
                      <a:pt x="106201" y="133350"/>
                    </a:cubicBezTo>
                    <a:cubicBezTo>
                      <a:pt x="101211" y="133350"/>
                      <a:pt x="95509" y="133350"/>
                      <a:pt x="90520" y="133350"/>
                    </a:cubicBezTo>
                    <a:cubicBezTo>
                      <a:pt x="15681" y="133350"/>
                      <a:pt x="15681" y="133350"/>
                      <a:pt x="15681" y="133350"/>
                    </a:cubicBezTo>
                    <a:cubicBezTo>
                      <a:pt x="7128" y="133350"/>
                      <a:pt x="0" y="126134"/>
                      <a:pt x="0" y="117475"/>
                    </a:cubicBezTo>
                    <a:cubicBezTo>
                      <a:pt x="0" y="108816"/>
                      <a:pt x="7128" y="101600"/>
                      <a:pt x="15681" y="101600"/>
                    </a:cubicBezTo>
                    <a:close/>
                    <a:moveTo>
                      <a:pt x="15681" y="0"/>
                    </a:moveTo>
                    <a:cubicBezTo>
                      <a:pt x="42053" y="0"/>
                      <a:pt x="67712" y="0"/>
                      <a:pt x="90520" y="0"/>
                    </a:cubicBezTo>
                    <a:cubicBezTo>
                      <a:pt x="96222" y="0"/>
                      <a:pt x="101211" y="0"/>
                      <a:pt x="106201" y="0"/>
                    </a:cubicBezTo>
                    <a:cubicBezTo>
                      <a:pt x="111903" y="0"/>
                      <a:pt x="116892" y="0"/>
                      <a:pt x="121881" y="0"/>
                    </a:cubicBezTo>
                    <a:cubicBezTo>
                      <a:pt x="439057" y="0"/>
                      <a:pt x="439057" y="0"/>
                      <a:pt x="439057" y="0"/>
                    </a:cubicBezTo>
                    <a:cubicBezTo>
                      <a:pt x="447610" y="0"/>
                      <a:pt x="454025" y="6313"/>
                      <a:pt x="454025" y="15432"/>
                    </a:cubicBezTo>
                    <a:cubicBezTo>
                      <a:pt x="454025" y="23148"/>
                      <a:pt x="447610" y="30163"/>
                      <a:pt x="439057" y="30163"/>
                    </a:cubicBezTo>
                    <a:cubicBezTo>
                      <a:pt x="282964" y="30163"/>
                      <a:pt x="184604" y="30163"/>
                      <a:pt x="121881" y="30163"/>
                    </a:cubicBezTo>
                    <a:cubicBezTo>
                      <a:pt x="116892" y="30163"/>
                      <a:pt x="111190" y="30163"/>
                      <a:pt x="106201" y="30163"/>
                    </a:cubicBezTo>
                    <a:cubicBezTo>
                      <a:pt x="101211" y="30163"/>
                      <a:pt x="95509" y="30163"/>
                      <a:pt x="90520" y="30163"/>
                    </a:cubicBezTo>
                    <a:cubicBezTo>
                      <a:pt x="15681" y="30163"/>
                      <a:pt x="15681" y="30163"/>
                      <a:pt x="15681" y="30163"/>
                    </a:cubicBezTo>
                    <a:cubicBezTo>
                      <a:pt x="7128" y="30163"/>
                      <a:pt x="0" y="23148"/>
                      <a:pt x="0" y="15432"/>
                    </a:cubicBezTo>
                    <a:cubicBezTo>
                      <a:pt x="0" y="6313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6197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STYLE_ID" val="3wQKW8nz"/>
  <p:tag name="EE4P_STYLE_NAME" val="Kansas Grid 16:9"/>
  <p:tag name="EE4P_MASTERWIZARD_MARGINS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.VGQMwELzBTj3NJQisH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ptpA3KcBZoNrwUiKpPm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tGJTaiOQYTLQvSWNW.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yH.YODIdUaFE_ypUk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XV2Gg7HWc1kF6VUIyA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a32GJPz6SGE5LwXAyz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ptpA3KcBZoNrwUiKpPm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52i6slvNkJoliNZj3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_WujoTo5KRDV_PYLVWF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2KpoBbMt.HOprmXxXb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uHBGbibgvvpK56Saq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gzG8tzl.5s9x.ukGc8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oYOSat1MeR7nqf8VTWL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UqjbmFrwstuyWHp6H4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.UQDOC6Ao7Sow105Ol3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WXnQsumT5xRDWykfI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x9pxFA6RFIQXSgs63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4eX2IVgh9oMdV63oJd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xYT1NKey64BpdlkCm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.aGgjjOayUIF_217Ez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wB2sP4aGOBqSbHlpd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8NjCCV._XNC28edWX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6yHtamVO8l_Mk5E4OZ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Qn1QySpJER3FoGPwTp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xgc391lKxCoMhEowXz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weUEfPVFHCG1NIbho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j8iDa6.EPrde9aqA_UC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8MGKdlZBjRILQpEcR.P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HE04CUH2aP_KLSgWf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p4PH2oOgt3.9qQuDh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Es1Q1KuVmUuDggIiIx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e9Wzck3pp2Xq2FiC2Q6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0xmVml4Ulf5z4xbC5K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u590Gwza1Nv1hEYFfA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M.DkrTwpHbUXYlqko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52i6slvNkJoliNZj3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XeWISotczCENkf35RB5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F0PrXw0BriN9712EXo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ECzuHwnfLX.UUQVFL4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ul12loz.kszXsLyZMq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wRhrOeyvSHt6gM.mll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.VGQMwELzBTj3NJQisH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_WujoTo5KRDV_PYLVWF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gViHieuEaO6oP2gQOB8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N6kRAXcHOyc1dKNAGzk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u8iBhqHzDbJEESEPp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2KpoBbMt.HOprmXxXb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u8iBhqHzDbJEESEPpK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u8iBhqHzDbJEESEPpK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u8iBhqHzDbJEESEPpK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u8iBhqHzDbJEESEPpK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u8iBhqHzDbJEESEPp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uHBGbibgvvpK56Saq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tGJTaiOQYTLQvSWNW.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gzG8tzl.5s9x.ukGc8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oYOSat1MeR7nqf8VTW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UqjbmFrwstuyWHp6H4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.UQDOC6Ao7Sow105Ol3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WXnQsumT5xRDWykfI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x9pxFA6RFIQXSgs63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4eX2IVgh9oMdV63oJ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xYT1NKey64BpdlkCm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.aGgjjOayUIF_217E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wB2sP4aGOBqSbHlpd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yH.YODIdUaFE_ypUkG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8NjCCV._XNC28edWX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6yHtamVO8l_Mk5E4O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Qn1QySpJER3FoGPwT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xgc391lKxCoMhEowX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weUEfPVFHCG1NIbho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XV2Gg7HWc1kF6VUIy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j8iDa6.EPrde9aqA_U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8MGKdlZBjRILQpEcR.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HE04CUH2aP_KLSgW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p4PH2oOgt3.9qQuDh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Es1Q1KuVmUuDggIiI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e9Wzck3pp2Xq2FiC2Q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0xmVml4Ulf5z4xbC5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u590Gwza1Nv1hEYFfA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M.DkrTwpHbUXYlqko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a32GJPz6SGE5LwXAyz1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XeWISotczCENkf35RB5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F0PrXw0BriN9712EXo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ECzuHwnfLX.UUQVFL4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ul12loz.kszXsLyZM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wRhrOeyvSHt6gM.mllnQ"/>
</p:tagLst>
</file>

<file path=ppt/theme/theme1.xml><?xml version="1.0" encoding="utf-8"?>
<a:theme xmlns:a="http://schemas.openxmlformats.org/drawingml/2006/main" name="Kansas Grid 16:9 - 12912">
  <a:themeElements>
    <a:clrScheme name="Grid based thme color">
      <a:dk1>
        <a:sysClr val="windowText" lastClr="000000"/>
      </a:dk1>
      <a:lt1>
        <a:sysClr val="window" lastClr="FFFFFF"/>
      </a:lt1>
      <a:dk2>
        <a:srgbClr val="051934"/>
      </a:dk2>
      <a:lt2>
        <a:srgbClr val="F2F2F2"/>
      </a:lt2>
      <a:accent1>
        <a:srgbClr val="082A58"/>
      </a:accent1>
      <a:accent2>
        <a:srgbClr val="0A3774"/>
      </a:accent2>
      <a:accent3>
        <a:srgbClr val="EDAE1D"/>
      </a:accent3>
      <a:accent4>
        <a:srgbClr val="2B7EED"/>
      </a:accent4>
      <a:accent5>
        <a:srgbClr val="ADADAD"/>
      </a:accent5>
      <a:accent6>
        <a:srgbClr val="D16656"/>
      </a:accent6>
      <a:hlink>
        <a:srgbClr val="F06E02"/>
      </a:hlink>
      <a:folHlink>
        <a:srgbClr val="FEA358"/>
      </a:folHlink>
    </a:clrScheme>
    <a:fontScheme name="Custom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xxx" id="{68A82696-83F9-41F8-97AB-2419ECB0BA7C}" vid="{A7515B15-C783-4D74-9968-DEEAD6A72523}"/>
    </a:ext>
  </a:extLst>
</a:theme>
</file>

<file path=ppt/theme/theme2.xml><?xml version="1.0" encoding="utf-8"?>
<a:theme xmlns:a="http://schemas.openxmlformats.org/drawingml/2006/main" name="1_Kansas Grid 16:9 - 12912">
  <a:themeElements>
    <a:clrScheme name="Grid based thme color">
      <a:dk1>
        <a:sysClr val="windowText" lastClr="000000"/>
      </a:dk1>
      <a:lt1>
        <a:sysClr val="window" lastClr="FFFFFF"/>
      </a:lt1>
      <a:dk2>
        <a:srgbClr val="051934"/>
      </a:dk2>
      <a:lt2>
        <a:srgbClr val="F2F2F2"/>
      </a:lt2>
      <a:accent1>
        <a:srgbClr val="082A58"/>
      </a:accent1>
      <a:accent2>
        <a:srgbClr val="0A3774"/>
      </a:accent2>
      <a:accent3>
        <a:srgbClr val="EDAE1D"/>
      </a:accent3>
      <a:accent4>
        <a:srgbClr val="2B7EED"/>
      </a:accent4>
      <a:accent5>
        <a:srgbClr val="ADADAD"/>
      </a:accent5>
      <a:accent6>
        <a:srgbClr val="D16656"/>
      </a:accent6>
      <a:hlink>
        <a:srgbClr val="F06E02"/>
      </a:hlink>
      <a:folHlink>
        <a:srgbClr val="FEA358"/>
      </a:folHlink>
    </a:clrScheme>
    <a:fontScheme name="Custom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xxx" id="{68A82696-83F9-41F8-97AB-2419ECB0BA7C}" vid="{A7515B15-C783-4D74-9968-DEEAD6A72523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5</TotalTime>
  <Words>2594</Words>
  <Application>Microsoft Office PowerPoint</Application>
  <PresentationFormat>Widescreen</PresentationFormat>
  <Paragraphs>177</Paragraphs>
  <Slides>10</Slides>
  <Notes>6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  <vt:variant>
        <vt:lpstr>Custom Shows</vt:lpstr>
      </vt:variant>
      <vt:variant>
        <vt:i4>1</vt:i4>
      </vt:variant>
    </vt:vector>
  </HeadingPairs>
  <TitlesOfParts>
    <vt:vector size="21" baseType="lpstr">
      <vt:lpstr>Arial</vt:lpstr>
      <vt:lpstr>Arial Narrow</vt:lpstr>
      <vt:lpstr>Calibri</vt:lpstr>
      <vt:lpstr>Cambria</vt:lpstr>
      <vt:lpstr>Mangal</vt:lpstr>
      <vt:lpstr>Times New Roman</vt:lpstr>
      <vt:lpstr>Trebuchet MS</vt:lpstr>
      <vt:lpstr>Kansas Grid 16:9 - 12912</vt:lpstr>
      <vt:lpstr>1_Kansas Grid 16:9 - 12912</vt:lpstr>
      <vt:lpstr>think-cell Slide</vt:lpstr>
      <vt:lpstr>PowerPoint Presentation</vt:lpstr>
      <vt:lpstr>Fases de vacunación contra el COVID-19 en Kansas</vt:lpstr>
      <vt:lpstr>Fases de vacunación en Kansas|  Por tipo de población</vt:lpstr>
      <vt:lpstr>El Departamento de Salud y Medio Ambiente de Kansas (KDHE, por sus siglas en inglés) adoptó las recomendaciones federales para evaluar los riesgos de la exposición asociados a los lugares de trabajo y a las condiciones de alojamiento/vivienda</vt:lpstr>
      <vt:lpstr>Fase 1 | Trabajadores de salud: Identificando las características y definición del trabajo  </vt:lpstr>
      <vt:lpstr>Fase 2 | Trabajadores esenciales de alto nivel de contacto1: Identificando las características y definición del trabajo  </vt:lpstr>
      <vt:lpstr>Fase 2 | Ambientes congregados: Identificando las características y definición del trabajo </vt:lpstr>
      <vt:lpstr>Fase 3 | Edades de 16 a 64 con riesgos medicos severos: Identificando las características y definición del trabajo  </vt:lpstr>
      <vt:lpstr>Fase 3 | Otros trabajadores esenciales1 : Identificando las características y definición del trabajo </vt:lpstr>
      <vt:lpstr>Fase 4 | Edades de 16 a 64 con otros riesgos médicos: Identificando las características y definición del trabajo 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Kristi Zears</cp:lastModifiedBy>
  <cp:revision>864</cp:revision>
  <cp:lastPrinted>1999-12-31T18:30:00Z</cp:lastPrinted>
  <dcterms:created xsi:type="dcterms:W3CDTF">2020-12-29T05:59:09Z</dcterms:created>
  <dcterms:modified xsi:type="dcterms:W3CDTF">2021-03-15T18:2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